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notesSlides/notesSlide13.xml" ContentType="application/vnd.openxmlformats-officedocument.presentationml.notesSlide+xml"/>
  <Override PartName="/ppt/tags/tag12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3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4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15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16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17.xml" ContentType="application/vnd.openxmlformats-officedocument.presentationml.tags+xml"/>
  <Override PartName="/ppt/notesSlides/notesSlide28.xml" ContentType="application/vnd.openxmlformats-officedocument.presentationml.notesSlide+xml"/>
  <Override PartName="/ppt/tags/tag18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tags/tag19.xml" ContentType="application/vnd.openxmlformats-officedocument.presentationml.tags+xml"/>
  <Override PartName="/ppt/notesSlides/notesSlide31.xml" ContentType="application/vnd.openxmlformats-officedocument.presentationml.notesSlide+xml"/>
  <Override PartName="/ppt/tags/tag20.xml" ContentType="application/vnd.openxmlformats-officedocument.presentationml.tags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  <p:sldMasterId id="2147483661" r:id="rId2"/>
    <p:sldMasterId id="2147483675" r:id="rId3"/>
    <p:sldMasterId id="2147483689" r:id="rId4"/>
    <p:sldMasterId id="2147483704" r:id="rId5"/>
    <p:sldMasterId id="2147483717" r:id="rId6"/>
  </p:sldMasterIdLst>
  <p:notesMasterIdLst>
    <p:notesMasterId r:id="rId50"/>
  </p:notesMasterIdLst>
  <p:sldIdLst>
    <p:sldId id="256" r:id="rId7"/>
    <p:sldId id="257" r:id="rId8"/>
    <p:sldId id="258" r:id="rId9"/>
    <p:sldId id="259" r:id="rId10"/>
    <p:sldId id="266" r:id="rId11"/>
    <p:sldId id="260" r:id="rId12"/>
    <p:sldId id="290" r:id="rId13"/>
    <p:sldId id="261" r:id="rId14"/>
    <p:sldId id="262" r:id="rId15"/>
    <p:sldId id="263" r:id="rId16"/>
    <p:sldId id="284" r:id="rId17"/>
    <p:sldId id="325" r:id="rId18"/>
    <p:sldId id="327" r:id="rId19"/>
    <p:sldId id="328" r:id="rId20"/>
    <p:sldId id="265" r:id="rId21"/>
    <p:sldId id="267" r:id="rId22"/>
    <p:sldId id="291" r:id="rId23"/>
    <p:sldId id="268" r:id="rId24"/>
    <p:sldId id="292" r:id="rId25"/>
    <p:sldId id="305" r:id="rId26"/>
    <p:sldId id="319" r:id="rId27"/>
    <p:sldId id="271" r:id="rId28"/>
    <p:sldId id="272" r:id="rId29"/>
    <p:sldId id="329" r:id="rId30"/>
    <p:sldId id="273" r:id="rId31"/>
    <p:sldId id="331" r:id="rId32"/>
    <p:sldId id="274" r:id="rId33"/>
    <p:sldId id="333" r:id="rId34"/>
    <p:sldId id="332" r:id="rId35"/>
    <p:sldId id="275" r:id="rId36"/>
    <p:sldId id="330" r:id="rId37"/>
    <p:sldId id="334" r:id="rId38"/>
    <p:sldId id="335" r:id="rId39"/>
    <p:sldId id="276" r:id="rId40"/>
    <p:sldId id="277" r:id="rId41"/>
    <p:sldId id="278" r:id="rId42"/>
    <p:sldId id="279" r:id="rId43"/>
    <p:sldId id="280" r:id="rId44"/>
    <p:sldId id="281" r:id="rId45"/>
    <p:sldId id="282" r:id="rId46"/>
    <p:sldId id="283" r:id="rId47"/>
    <p:sldId id="269" r:id="rId48"/>
    <p:sldId id="288" r:id="rId49"/>
  </p:sldIdLst>
  <p:sldSz cx="12192000" cy="6858000"/>
  <p:notesSz cx="7559675" cy="10691813"/>
  <p:embeddedFontLst>
    <p:embeddedFont>
      <p:font typeface="Calibri" panose="020F0502020204030204" pitchFamily="34" charset="0"/>
      <p:regular r:id="rId51"/>
      <p:bold r:id="rId52"/>
      <p:italic r:id="rId53"/>
      <p:boldItalic r:id="rId54"/>
    </p:embeddedFont>
    <p:embeddedFont>
      <p:font typeface="Merriweather Sans" pitchFamily="2" charset="0"/>
      <p:regular r:id="rId55"/>
      <p:bold r:id="rId56"/>
      <p:italic r:id="rId57"/>
      <p:boldItalic r:id="rId58"/>
    </p:embeddedFont>
    <p:embeddedFont>
      <p:font typeface="Quattrocento Sans" panose="020B0604020202020204" charset="0"/>
      <p:regular r:id="rId59"/>
      <p:bold r:id="rId60"/>
      <p:italic r:id="rId61"/>
      <p:boldItalic r:id="rId62"/>
    </p:embeddedFont>
    <p:embeddedFont>
      <p:font typeface="Segoe UI" panose="020B0502040204020203" pitchFamily="34" charset="0"/>
      <p:regular r:id="rId63"/>
      <p:bold r:id="rId64"/>
      <p:italic r:id="rId65"/>
      <p:boldItalic r:id="rId66"/>
    </p:embeddedFont>
    <p:embeddedFont>
      <p:font typeface="Segoe UI Light" panose="020B0502040204020203" pitchFamily="34" charset="0"/>
      <p:regular r:id="rId67"/>
      <p:italic r:id="rId68"/>
    </p:embeddedFont>
    <p:embeddedFont>
      <p:font typeface="Segoe UI Semibold" panose="020B0702040204020203" pitchFamily="34" charset="0"/>
      <p:bold r:id="rId69"/>
      <p:boldItalic r:id="rId70"/>
    </p:embeddedFont>
    <p:embeddedFont>
      <p:font typeface="Trebuchet MS" panose="020B0603020202020204" pitchFamily="34" charset="0"/>
      <p:regular r:id="rId71"/>
      <p:bold r:id="rId72"/>
      <p:italic r:id="rId73"/>
      <p:boldItalic r:id="rId74"/>
    </p:embeddedFont>
  </p:embeddedFontLst>
  <p:custDataLst>
    <p:tags r:id="rId75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Default Section" id="{2B498E23-8170-4D0A-A8FA-8C90E39B6FC3}">
          <p14:sldIdLst>
            <p14:sldId id="256"/>
            <p14:sldId id="257"/>
            <p14:sldId id="258"/>
            <p14:sldId id="259"/>
            <p14:sldId id="266"/>
            <p14:sldId id="260"/>
            <p14:sldId id="290"/>
            <p14:sldId id="261"/>
            <p14:sldId id="262"/>
            <p14:sldId id="263"/>
            <p14:sldId id="284"/>
            <p14:sldId id="325"/>
            <p14:sldId id="327"/>
            <p14:sldId id="328"/>
            <p14:sldId id="265"/>
            <p14:sldId id="267"/>
            <p14:sldId id="291"/>
            <p14:sldId id="268"/>
            <p14:sldId id="292"/>
            <p14:sldId id="305"/>
            <p14:sldId id="319"/>
            <p14:sldId id="271"/>
            <p14:sldId id="272"/>
            <p14:sldId id="329"/>
            <p14:sldId id="273"/>
            <p14:sldId id="331"/>
            <p14:sldId id="274"/>
            <p14:sldId id="333"/>
            <p14:sldId id="332"/>
            <p14:sldId id="275"/>
            <p14:sldId id="330"/>
            <p14:sldId id="334"/>
            <p14:sldId id="335"/>
            <p14:sldId id="276"/>
          </p14:sldIdLst>
        </p14:section>
        <p14:section name="Backup" id="{DB9E2085-C153-4FFD-8766-E57870CCDF3B}">
          <p14:sldIdLst>
            <p14:sldId id="277"/>
            <p14:sldId id="278"/>
            <p14:sldId id="279"/>
            <p14:sldId id="280"/>
            <p14:sldId id="281"/>
            <p14:sldId id="282"/>
            <p14:sldId id="283"/>
            <p14:sldId id="269"/>
            <p14:sldId id="288"/>
          </p14:sldIdLst>
        </p14:section>
      </p14:sectionLst>
    </p:ext>
    <p:ext uri="{EFAFB233-063F-42B5-8137-9DF3F51BA10A}">
      <p15:sldGuideLst xmlns:p15="http://schemas.microsoft.com/office/powerpoint/2012/main"/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76" roundtripDataSignature="AMtx7mgVvxELatK5KUSVYTUFcoSgeI5ke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9" d="100"/>
          <a:sy n="79" d="100"/>
        </p:scale>
        <p:origin x="101" y="11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notesMaster" Target="notesMasters/notesMaster1.xml"/><Relationship Id="rId55" Type="http://schemas.openxmlformats.org/officeDocument/2006/relationships/font" Target="fonts/font5.fntdata"/><Relationship Id="rId63" Type="http://schemas.openxmlformats.org/officeDocument/2006/relationships/font" Target="fonts/font13.fntdata"/><Relationship Id="rId68" Type="http://schemas.openxmlformats.org/officeDocument/2006/relationships/font" Target="fonts/font18.fntdata"/><Relationship Id="rId76" Type="http://customschemas.google.com/relationships/presentationmetadata" Target="metadata"/><Relationship Id="rId7" Type="http://schemas.openxmlformats.org/officeDocument/2006/relationships/slide" Target="slides/slide1.xml"/><Relationship Id="rId71" Type="http://schemas.openxmlformats.org/officeDocument/2006/relationships/font" Target="fonts/font21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font" Target="fonts/font3.fntdata"/><Relationship Id="rId58" Type="http://schemas.openxmlformats.org/officeDocument/2006/relationships/font" Target="fonts/font8.fntdata"/><Relationship Id="rId66" Type="http://schemas.openxmlformats.org/officeDocument/2006/relationships/font" Target="fonts/font16.fntdata"/><Relationship Id="rId74" Type="http://schemas.openxmlformats.org/officeDocument/2006/relationships/font" Target="fonts/font24.fntdata"/><Relationship Id="rId79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61" Type="http://schemas.openxmlformats.org/officeDocument/2006/relationships/font" Target="fonts/font11.fntdata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font" Target="fonts/font2.fntdata"/><Relationship Id="rId60" Type="http://schemas.openxmlformats.org/officeDocument/2006/relationships/font" Target="fonts/font10.fntdata"/><Relationship Id="rId65" Type="http://schemas.openxmlformats.org/officeDocument/2006/relationships/font" Target="fonts/font15.fntdata"/><Relationship Id="rId73" Type="http://schemas.openxmlformats.org/officeDocument/2006/relationships/font" Target="fonts/font23.fntdata"/><Relationship Id="rId78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font" Target="fonts/font6.fntdata"/><Relationship Id="rId64" Type="http://schemas.openxmlformats.org/officeDocument/2006/relationships/font" Target="fonts/font14.fntdata"/><Relationship Id="rId69" Type="http://schemas.openxmlformats.org/officeDocument/2006/relationships/font" Target="fonts/font19.fntdata"/><Relationship Id="rId77" Type="http://schemas.openxmlformats.org/officeDocument/2006/relationships/presProps" Target="presProps.xml"/><Relationship Id="rId8" Type="http://schemas.openxmlformats.org/officeDocument/2006/relationships/slide" Target="slides/slide2.xml"/><Relationship Id="rId51" Type="http://schemas.openxmlformats.org/officeDocument/2006/relationships/font" Target="fonts/font1.fntdata"/><Relationship Id="rId72" Type="http://schemas.openxmlformats.org/officeDocument/2006/relationships/font" Target="fonts/font22.fntdata"/><Relationship Id="rId80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font" Target="fonts/font9.fntdata"/><Relationship Id="rId67" Type="http://schemas.openxmlformats.org/officeDocument/2006/relationships/font" Target="fonts/font17.fntdata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font" Target="fonts/font4.fntdata"/><Relationship Id="rId62" Type="http://schemas.openxmlformats.org/officeDocument/2006/relationships/font" Target="fonts/font12.fntdata"/><Relationship Id="rId70" Type="http://schemas.openxmlformats.org/officeDocument/2006/relationships/font" Target="fonts/font20.fntdata"/><Relationship Id="rId75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font" Target="fonts/font7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276600" cy="536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4281488" y="0"/>
            <a:ext cx="3276600" cy="536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10155238"/>
            <a:ext cx="3276600" cy="536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4281488" y="10155238"/>
            <a:ext cx="3276600" cy="536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BE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1" name="Google Shape;541;p1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42" name="Google Shape;54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9" name="Google Shape;629;p9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0" name="Google Shape;630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6" name="Google Shape;666;p10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7" name="Google Shape;667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9261853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61EA0F-A667-4B49-8422-0062BC55E249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14434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61EA0F-A667-4B49-8422-0062BC55E249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73792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61EA0F-A667-4B49-8422-0062BC55E249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005871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" name="Google Shape;696;p11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7" name="Google Shape;697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9" name="Google Shape;709;p13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0" name="Google Shape;71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9" name="Google Shape;709;p13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0" name="Google Shape;71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8932530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5" name="Google Shape;715;p14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6" name="Google Shape;716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9" name="Google Shape;709;p13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0" name="Google Shape;71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4195012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" name="Google Shape;552;p3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53" name="Google Shape;553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61EA0F-A667-4B49-8422-0062BC55E249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001808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61EA0F-A667-4B49-8422-0062BC55E249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980546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17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44" name="Google Shape;74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9" name="Google Shape;749;p18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0" name="Google Shape;75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9" name="Google Shape;709;p13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0" name="Google Shape;71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36866463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9" name="Google Shape;759;p19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0" name="Google Shape;760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9" name="Google Shape;759;p19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0" name="Google Shape;760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59265669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5" name="Google Shape;765;p20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6" name="Google Shape;766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5" name="Google Shape;765;p20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6" name="Google Shape;766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7373090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5" name="Google Shape;765;p20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6" name="Google Shape;766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740957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5" name="Google Shape;565;p4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66" name="Google Shape;566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1" name="Google Shape;771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772" name="Google Shape;772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5" name="Google Shape;765;p20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6" name="Google Shape;766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2811428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6" name="Google Shape;786;p22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87" name="Google Shape;787;p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6" name="Google Shape;796;p23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97" name="Google Shape;797;p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4" name="Google Shape;804;p24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05" name="Google Shape;805;p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2" name="Google Shape;812;p25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13" name="Google Shape;813;p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3" name="Google Shape;823;p26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24" name="Google Shape;824;p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7" name="Google Shape;847;p27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48" name="Google Shape;848;p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4" name="Google Shape;874;p28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5" name="Google Shape;875;p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2" name="Google Shape;882;p29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3" name="Google Shape;883;p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1" name="Google Shape;571;p5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72" name="Google Shape;572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" name="Google Shape;721;p15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22" name="Google Shape;722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94917911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" name="Google Shape;552;p3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53" name="Google Shape;553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1754161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3" name="Google Shape;703;p12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4" name="Google Shape;704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1171396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7" name="Google Shape;577;p6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78" name="Google Shape;578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7" name="Google Shape;577;p6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78" name="Google Shape;578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6030440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" name="Google Shape;583;p7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84" name="Google Shape;5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3" name="Google Shape;623;p8:notes"/>
          <p:cNvSpPr txBox="1">
            <a:spLocks noGrp="1"/>
          </p:cNvSpPr>
          <p:nvPr>
            <p:ph type="body" idx="1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24" name="Google Shape;624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type="blank">
  <p:cSld name="BLANK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Content over Content" type="objOverTx">
  <p:cSld name="OBJECT_OVER_TEXT"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52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52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" name="Google Shape;70;p52"/>
          <p:cNvSpPr txBox="1">
            <a:spLocks noGrp="1"/>
          </p:cNvSpPr>
          <p:nvPr>
            <p:ph type="body" idx="2"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4 Content" type="fourObj">
  <p:cSld name="FOUR_OBJECTS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53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53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" name="Google Shape;74;p53"/>
          <p:cNvSpPr txBox="1">
            <a:spLocks noGrp="1"/>
          </p:cNvSpPr>
          <p:nvPr>
            <p:ph type="body" idx="2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53"/>
          <p:cNvSpPr txBox="1">
            <a:spLocks noGrp="1"/>
          </p:cNvSpPr>
          <p:nvPr>
            <p:ph type="body" idx="3"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" name="Google Shape;76;p53"/>
          <p:cNvSpPr txBox="1">
            <a:spLocks noGrp="1"/>
          </p:cNvSpPr>
          <p:nvPr>
            <p:ph type="body" idx="4"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6 Content">
  <p:cSld name="Title, 6 Content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54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54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" name="Google Shape;80;p54"/>
          <p:cNvSpPr txBox="1">
            <a:spLocks noGrp="1"/>
          </p:cNvSpPr>
          <p:nvPr>
            <p:ph type="body" idx="2"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" name="Google Shape;81;p54"/>
          <p:cNvSpPr txBox="1">
            <a:spLocks noGrp="1"/>
          </p:cNvSpPr>
          <p:nvPr>
            <p:ph type="body" idx="3"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54"/>
          <p:cNvSpPr txBox="1">
            <a:spLocks noGrp="1"/>
          </p:cNvSpPr>
          <p:nvPr>
            <p:ph type="body" idx="4"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54"/>
          <p:cNvSpPr txBox="1">
            <a:spLocks noGrp="1"/>
          </p:cNvSpPr>
          <p:nvPr>
            <p:ph type="body" idx="5"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54"/>
          <p:cNvSpPr txBox="1">
            <a:spLocks noGrp="1"/>
          </p:cNvSpPr>
          <p:nvPr>
            <p:ph type="body" idx="6"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type="blank">
  <p:cSld name="BLANK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re + Contenu + Img">
  <p:cSld name="1_Titre + Contenu + Img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34"/>
          <p:cNvSpPr/>
          <p:nvPr/>
        </p:nvSpPr>
        <p:spPr>
          <a:xfrm>
            <a:off x="5222400" y="72000"/>
            <a:ext cx="6969600" cy="6786000"/>
          </a:xfrm>
          <a:prstGeom prst="rect">
            <a:avLst/>
          </a:prstGeom>
          <a:solidFill>
            <a:srgbClr val="F6FAFA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08" name="Google Shape;108;p34"/>
          <p:cNvSpPr/>
          <p:nvPr/>
        </p:nvSpPr>
        <p:spPr>
          <a:xfrm>
            <a:off x="-4800" y="0"/>
            <a:ext cx="17424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" name="Google Shape;109;p34"/>
          <p:cNvSpPr/>
          <p:nvPr/>
        </p:nvSpPr>
        <p:spPr>
          <a:xfrm>
            <a:off x="1737600" y="0"/>
            <a:ext cx="1742400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" name="Google Shape;110;p34"/>
          <p:cNvSpPr/>
          <p:nvPr/>
        </p:nvSpPr>
        <p:spPr>
          <a:xfrm>
            <a:off x="3480000" y="1527"/>
            <a:ext cx="1742400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" name="Google Shape;111;p34"/>
          <p:cNvSpPr/>
          <p:nvPr/>
        </p:nvSpPr>
        <p:spPr>
          <a:xfrm>
            <a:off x="5222400" y="1527"/>
            <a:ext cx="1742400" cy="7200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" name="Google Shape;112;p34"/>
          <p:cNvSpPr/>
          <p:nvPr/>
        </p:nvSpPr>
        <p:spPr>
          <a:xfrm rot="10800000">
            <a:off x="6964800" y="1527"/>
            <a:ext cx="1742400" cy="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" name="Google Shape;113;p34"/>
          <p:cNvSpPr/>
          <p:nvPr/>
        </p:nvSpPr>
        <p:spPr>
          <a:xfrm rot="10800000">
            <a:off x="8707200" y="1527"/>
            <a:ext cx="1742400" cy="7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" name="Google Shape;114;p34"/>
          <p:cNvSpPr/>
          <p:nvPr/>
        </p:nvSpPr>
        <p:spPr>
          <a:xfrm rot="10800000">
            <a:off x="10449600" y="1527"/>
            <a:ext cx="1742400" cy="72000"/>
          </a:xfrm>
          <a:prstGeom prst="rect">
            <a:avLst/>
          </a:prstGeom>
          <a:solidFill>
            <a:srgbClr val="23914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5" name="Google Shape;115;p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10233" y="821572"/>
            <a:ext cx="513678" cy="513678"/>
          </a:xfrm>
          <a:prstGeom prst="rect">
            <a:avLst/>
          </a:prstGeom>
          <a:noFill/>
          <a:ln>
            <a:noFill/>
          </a:ln>
        </p:spPr>
      </p:pic>
      <p:sp>
        <p:nvSpPr>
          <p:cNvPr id="116" name="Google Shape;116;p34"/>
          <p:cNvSpPr txBox="1">
            <a:spLocks noGrp="1"/>
          </p:cNvSpPr>
          <p:nvPr>
            <p:ph type="sldNum" idx="12"/>
          </p:nvPr>
        </p:nvSpPr>
        <p:spPr>
          <a:xfrm>
            <a:off x="11483721" y="5800179"/>
            <a:ext cx="5948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BE"/>
              <a:t>‹#›</a:t>
            </a:fld>
            <a:endParaRPr/>
          </a:p>
        </p:txBody>
      </p:sp>
      <p:sp>
        <p:nvSpPr>
          <p:cNvPr id="117" name="Google Shape;117;p34"/>
          <p:cNvSpPr txBox="1">
            <a:spLocks noGrp="1"/>
          </p:cNvSpPr>
          <p:nvPr>
            <p:ph type="ftr" idx="11"/>
          </p:nvPr>
        </p:nvSpPr>
        <p:spPr>
          <a:xfrm rot="5400000">
            <a:off x="9827347" y="2710269"/>
            <a:ext cx="39012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18" name="Google Shape;118;p34"/>
          <p:cNvSpPr txBox="1">
            <a:spLocks noGrp="1"/>
          </p:cNvSpPr>
          <p:nvPr>
            <p:ph type="title"/>
          </p:nvPr>
        </p:nvSpPr>
        <p:spPr>
          <a:xfrm>
            <a:off x="839791" y="2084822"/>
            <a:ext cx="3960065" cy="323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rebuchet MS"/>
              <a:buNone/>
              <a:defRPr sz="48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9pPr>
          </a:lstStyle>
          <a:p>
            <a:endParaRPr/>
          </a:p>
        </p:txBody>
      </p:sp>
      <p:cxnSp>
        <p:nvCxnSpPr>
          <p:cNvPr id="119" name="Google Shape;119;p34"/>
          <p:cNvCxnSpPr/>
          <p:nvPr/>
        </p:nvCxnSpPr>
        <p:spPr>
          <a:xfrm>
            <a:off x="839791" y="6021388"/>
            <a:ext cx="719705" cy="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>
          <p15:clr>
            <a:srgbClr val="FBAE40"/>
          </p15:clr>
        </p15:guide>
        <p15:guide id="2" pos="529">
          <p15:clr>
            <a:srgbClr val="FBAE40"/>
          </p15:clr>
        </p15:guide>
        <p15:guide id="3" pos="7151">
          <p15:clr>
            <a:srgbClr val="FBAE40"/>
          </p15:clr>
        </p15:guide>
        <p15:guide id="4" orient="horz" pos="3793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x">
  <p:cSld name="TITLE_AND_BODY"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Google Shape;121;p55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" name="Google Shape;122;p55"/>
          <p:cNvSpPr txBox="1">
            <a:spLocks noGrp="1"/>
          </p:cNvSpPr>
          <p:nvPr>
            <p:ph type="subTitle" idx="1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Content" type="obj">
  <p:cSld name="OBJECT"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Google Shape;124;p56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" name="Google Shape;125;p56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2 Content" type="twoObj">
  <p:cSld name="TWO_OBJECTS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57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" name="Google Shape;128;p57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" name="Google Shape;129;p57"/>
          <p:cNvSpPr txBox="1">
            <a:spLocks noGrp="1"/>
          </p:cNvSpPr>
          <p:nvPr>
            <p:ph type="body" idx="2"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p58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entered Text" type="objOnly">
  <p:cSld name="OBJECT_ONLY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59"/>
          <p:cNvSpPr txBox="1">
            <a:spLocks noGrp="1"/>
          </p:cNvSpPr>
          <p:nvPr>
            <p:ph type="subTitle" idx="1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x">
  <p:cSld name="TITLE_AND_BODY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44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44"/>
          <p:cNvSpPr txBox="1">
            <a:spLocks noGrp="1"/>
          </p:cNvSpPr>
          <p:nvPr>
            <p:ph type="subTitle" idx="1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2 Content and Content" type="twoObjAndObj">
  <p:cSld name="TWO_OBJECTS_AND_OBJECT"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60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" name="Google Shape;136;p60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" name="Google Shape;137;p60"/>
          <p:cNvSpPr txBox="1">
            <a:spLocks noGrp="1"/>
          </p:cNvSpPr>
          <p:nvPr>
            <p:ph type="body" idx="2"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60"/>
          <p:cNvSpPr txBox="1">
            <a:spLocks noGrp="1"/>
          </p:cNvSpPr>
          <p:nvPr>
            <p:ph type="body" idx="3"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and 2 Content" type="objAndTwoObj">
  <p:cSld name="OBJECT_AND_TWO_OBJECTS"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61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" name="Google Shape;141;p61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" name="Google Shape;142;p61"/>
          <p:cNvSpPr txBox="1">
            <a:spLocks noGrp="1"/>
          </p:cNvSpPr>
          <p:nvPr>
            <p:ph type="body" idx="2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" name="Google Shape;143;p61"/>
          <p:cNvSpPr txBox="1">
            <a:spLocks noGrp="1"/>
          </p:cNvSpPr>
          <p:nvPr>
            <p:ph type="body" idx="3"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2 Content over Content" type="twoObjOverTx">
  <p:cSld name="TWO_OBJECTS_OVER_TEXT"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Google Shape;145;p62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" name="Google Shape;146;p62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62"/>
          <p:cNvSpPr txBox="1">
            <a:spLocks noGrp="1"/>
          </p:cNvSpPr>
          <p:nvPr>
            <p:ph type="body" idx="2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p62"/>
          <p:cNvSpPr txBox="1">
            <a:spLocks noGrp="1"/>
          </p:cNvSpPr>
          <p:nvPr>
            <p:ph type="body" idx="3"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Content over Content" type="objOverTx">
  <p:cSld name="OBJECT_OVER_TEXT"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Google Shape;150;p63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" name="Google Shape;151;p63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63"/>
          <p:cNvSpPr txBox="1">
            <a:spLocks noGrp="1"/>
          </p:cNvSpPr>
          <p:nvPr>
            <p:ph type="body" idx="2"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4 Content" type="fourObj">
  <p:cSld name="FOUR_OBJECTS">
    <p:spTree>
      <p:nvGrpSpPr>
        <p:cNvPr id="1" name="Shape 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Google Shape;154;p64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" name="Google Shape;155;p64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64"/>
          <p:cNvSpPr txBox="1">
            <a:spLocks noGrp="1"/>
          </p:cNvSpPr>
          <p:nvPr>
            <p:ph type="body" idx="2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7" name="Google Shape;157;p64"/>
          <p:cNvSpPr txBox="1">
            <a:spLocks noGrp="1"/>
          </p:cNvSpPr>
          <p:nvPr>
            <p:ph type="body" idx="3"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8" name="Google Shape;158;p64"/>
          <p:cNvSpPr txBox="1">
            <a:spLocks noGrp="1"/>
          </p:cNvSpPr>
          <p:nvPr>
            <p:ph type="body" idx="4"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6 Content">
  <p:cSld name="Title, 6 Content"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Google Shape;160;p65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1" name="Google Shape;161;p65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" name="Google Shape;162;p65"/>
          <p:cNvSpPr txBox="1">
            <a:spLocks noGrp="1"/>
          </p:cNvSpPr>
          <p:nvPr>
            <p:ph type="body" idx="2"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65"/>
          <p:cNvSpPr txBox="1">
            <a:spLocks noGrp="1"/>
          </p:cNvSpPr>
          <p:nvPr>
            <p:ph type="body" idx="3"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65"/>
          <p:cNvSpPr txBox="1">
            <a:spLocks noGrp="1"/>
          </p:cNvSpPr>
          <p:nvPr>
            <p:ph type="body" idx="4"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" name="Google Shape;165;p65"/>
          <p:cNvSpPr txBox="1">
            <a:spLocks noGrp="1"/>
          </p:cNvSpPr>
          <p:nvPr>
            <p:ph type="body" idx="5"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" name="Google Shape;166;p65"/>
          <p:cNvSpPr txBox="1">
            <a:spLocks noGrp="1"/>
          </p:cNvSpPr>
          <p:nvPr>
            <p:ph type="body" idx="6"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type="blank">
  <p:cSld name="BLANK">
    <p:spTree>
      <p:nvGrpSpPr>
        <p:cNvPr id="1" name="Shape 18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re + Contenu + Img">
  <p:cSld name="1_Titre + Contenu + Img"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40"/>
          <p:cNvSpPr/>
          <p:nvPr/>
        </p:nvSpPr>
        <p:spPr>
          <a:xfrm>
            <a:off x="5222400" y="72000"/>
            <a:ext cx="6969600" cy="6786000"/>
          </a:xfrm>
          <a:prstGeom prst="rect">
            <a:avLst/>
          </a:prstGeom>
          <a:solidFill>
            <a:srgbClr val="F6FAFA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92" name="Google Shape;192;p40"/>
          <p:cNvSpPr/>
          <p:nvPr/>
        </p:nvSpPr>
        <p:spPr>
          <a:xfrm>
            <a:off x="-4800" y="0"/>
            <a:ext cx="17424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3" name="Google Shape;193;p40"/>
          <p:cNvSpPr/>
          <p:nvPr/>
        </p:nvSpPr>
        <p:spPr>
          <a:xfrm>
            <a:off x="1737600" y="0"/>
            <a:ext cx="1742400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" name="Google Shape;194;p40"/>
          <p:cNvSpPr/>
          <p:nvPr/>
        </p:nvSpPr>
        <p:spPr>
          <a:xfrm>
            <a:off x="3480000" y="1527"/>
            <a:ext cx="1742400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" name="Google Shape;195;p40"/>
          <p:cNvSpPr/>
          <p:nvPr/>
        </p:nvSpPr>
        <p:spPr>
          <a:xfrm>
            <a:off x="5222400" y="1527"/>
            <a:ext cx="1742400" cy="7200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6" name="Google Shape;196;p40"/>
          <p:cNvSpPr/>
          <p:nvPr/>
        </p:nvSpPr>
        <p:spPr>
          <a:xfrm rot="10800000">
            <a:off x="6964800" y="1527"/>
            <a:ext cx="1742400" cy="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7" name="Google Shape;197;p40"/>
          <p:cNvSpPr/>
          <p:nvPr/>
        </p:nvSpPr>
        <p:spPr>
          <a:xfrm rot="10800000">
            <a:off x="8707200" y="1527"/>
            <a:ext cx="1742400" cy="7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" name="Google Shape;198;p40"/>
          <p:cNvSpPr/>
          <p:nvPr/>
        </p:nvSpPr>
        <p:spPr>
          <a:xfrm rot="10800000">
            <a:off x="10449600" y="1527"/>
            <a:ext cx="1742400" cy="72000"/>
          </a:xfrm>
          <a:prstGeom prst="rect">
            <a:avLst/>
          </a:prstGeom>
          <a:solidFill>
            <a:srgbClr val="23914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9" name="Google Shape;199;p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10233" y="821572"/>
            <a:ext cx="513678" cy="513678"/>
          </a:xfrm>
          <a:prstGeom prst="rect">
            <a:avLst/>
          </a:prstGeom>
          <a:noFill/>
          <a:ln>
            <a:noFill/>
          </a:ln>
        </p:spPr>
      </p:pic>
      <p:sp>
        <p:nvSpPr>
          <p:cNvPr id="200" name="Google Shape;200;p40"/>
          <p:cNvSpPr txBox="1">
            <a:spLocks noGrp="1"/>
          </p:cNvSpPr>
          <p:nvPr>
            <p:ph type="sldNum" idx="12"/>
          </p:nvPr>
        </p:nvSpPr>
        <p:spPr>
          <a:xfrm>
            <a:off x="11483721" y="5800179"/>
            <a:ext cx="5948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BE"/>
              <a:t>‹#›</a:t>
            </a:fld>
            <a:endParaRPr/>
          </a:p>
        </p:txBody>
      </p:sp>
      <p:sp>
        <p:nvSpPr>
          <p:cNvPr id="201" name="Google Shape;201;p40"/>
          <p:cNvSpPr txBox="1">
            <a:spLocks noGrp="1"/>
          </p:cNvSpPr>
          <p:nvPr>
            <p:ph type="ftr" idx="11"/>
          </p:nvPr>
        </p:nvSpPr>
        <p:spPr>
          <a:xfrm rot="5400000">
            <a:off x="9827347" y="2710269"/>
            <a:ext cx="39012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202" name="Google Shape;202;p40"/>
          <p:cNvSpPr txBox="1">
            <a:spLocks noGrp="1"/>
          </p:cNvSpPr>
          <p:nvPr>
            <p:ph type="title"/>
          </p:nvPr>
        </p:nvSpPr>
        <p:spPr>
          <a:xfrm>
            <a:off x="839791" y="2084822"/>
            <a:ext cx="3960065" cy="323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rebuchet MS"/>
              <a:buNone/>
              <a:defRPr sz="48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9pPr>
          </a:lstStyle>
          <a:p>
            <a:endParaRPr/>
          </a:p>
        </p:txBody>
      </p:sp>
      <p:cxnSp>
        <p:nvCxnSpPr>
          <p:cNvPr id="203" name="Google Shape;203;p40"/>
          <p:cNvCxnSpPr/>
          <p:nvPr/>
        </p:nvCxnSpPr>
        <p:spPr>
          <a:xfrm>
            <a:off x="839791" y="6021388"/>
            <a:ext cx="719705" cy="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>
          <p15:clr>
            <a:srgbClr val="FBAE40"/>
          </p15:clr>
        </p15:guide>
        <p15:guide id="2" pos="529">
          <p15:clr>
            <a:srgbClr val="FBAE40"/>
          </p15:clr>
        </p15:guide>
        <p15:guide id="3" pos="7151">
          <p15:clr>
            <a:srgbClr val="FBAE40"/>
          </p15:clr>
        </p15:guide>
        <p15:guide id="4" orient="horz" pos="3793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2 Content" type="twoObj">
  <p:cSld name="TWO_OBJECTS"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41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6" name="Google Shape;206;p41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7" name="Google Shape;207;p41"/>
          <p:cNvSpPr txBox="1">
            <a:spLocks noGrp="1"/>
          </p:cNvSpPr>
          <p:nvPr>
            <p:ph type="body" idx="2"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Content" type="obj">
  <p:cSld name="OBJECT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66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0" name="Google Shape;210;p66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Content" type="obj">
  <p:cSld name="OBJECT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45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45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67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entered Text" type="objOnly">
  <p:cSld name="OBJECT_ONLY"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68"/>
          <p:cNvSpPr txBox="1">
            <a:spLocks noGrp="1"/>
          </p:cNvSpPr>
          <p:nvPr>
            <p:ph type="subTitle" idx="1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2 Content and Content" type="twoObjAndObj">
  <p:cSld name="TWO_OBJECTS_AND_OBJECT"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p69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7" name="Google Shape;217;p69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8" name="Google Shape;218;p69"/>
          <p:cNvSpPr txBox="1">
            <a:spLocks noGrp="1"/>
          </p:cNvSpPr>
          <p:nvPr>
            <p:ph type="body" idx="2"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9" name="Google Shape;219;p69"/>
          <p:cNvSpPr txBox="1">
            <a:spLocks noGrp="1"/>
          </p:cNvSpPr>
          <p:nvPr>
            <p:ph type="body" idx="3"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and 2 Content" type="objAndTwoObj">
  <p:cSld name="OBJECT_AND_TWO_OBJECTS">
    <p:spTree>
      <p:nvGrpSpPr>
        <p:cNvPr id="1" name="Shape 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Google Shape;221;p70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2" name="Google Shape;222;p70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3" name="Google Shape;223;p70"/>
          <p:cNvSpPr txBox="1">
            <a:spLocks noGrp="1"/>
          </p:cNvSpPr>
          <p:nvPr>
            <p:ph type="body" idx="2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4" name="Google Shape;224;p70"/>
          <p:cNvSpPr txBox="1">
            <a:spLocks noGrp="1"/>
          </p:cNvSpPr>
          <p:nvPr>
            <p:ph type="body" idx="3"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2 Content over Content" type="twoObjOverTx">
  <p:cSld name="TWO_OBJECTS_OVER_TEXT"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p71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7" name="Google Shape;227;p71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8" name="Google Shape;228;p71"/>
          <p:cNvSpPr txBox="1">
            <a:spLocks noGrp="1"/>
          </p:cNvSpPr>
          <p:nvPr>
            <p:ph type="body" idx="2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9" name="Google Shape;229;p71"/>
          <p:cNvSpPr txBox="1">
            <a:spLocks noGrp="1"/>
          </p:cNvSpPr>
          <p:nvPr>
            <p:ph type="body" idx="3"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Content over Content" type="objOverTx">
  <p:cSld name="OBJECT_OVER_TEXT"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" name="Google Shape;231;p72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2" name="Google Shape;232;p72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3" name="Google Shape;233;p72"/>
          <p:cNvSpPr txBox="1">
            <a:spLocks noGrp="1"/>
          </p:cNvSpPr>
          <p:nvPr>
            <p:ph type="body" idx="2"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4 Content" type="fourObj">
  <p:cSld name="FOUR_OBJECTS"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" name="Google Shape;235;p73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6" name="Google Shape;236;p73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7" name="Google Shape;237;p73"/>
          <p:cNvSpPr txBox="1">
            <a:spLocks noGrp="1"/>
          </p:cNvSpPr>
          <p:nvPr>
            <p:ph type="body" idx="2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8" name="Google Shape;238;p73"/>
          <p:cNvSpPr txBox="1">
            <a:spLocks noGrp="1"/>
          </p:cNvSpPr>
          <p:nvPr>
            <p:ph type="body" idx="3"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9" name="Google Shape;239;p73"/>
          <p:cNvSpPr txBox="1">
            <a:spLocks noGrp="1"/>
          </p:cNvSpPr>
          <p:nvPr>
            <p:ph type="body" idx="4"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6 Content">
  <p:cSld name="Title, 6 Content"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Google Shape;241;p74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2" name="Google Shape;242;p74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3" name="Google Shape;243;p74"/>
          <p:cNvSpPr txBox="1">
            <a:spLocks noGrp="1"/>
          </p:cNvSpPr>
          <p:nvPr>
            <p:ph type="body" idx="2"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4" name="Google Shape;244;p74"/>
          <p:cNvSpPr txBox="1">
            <a:spLocks noGrp="1"/>
          </p:cNvSpPr>
          <p:nvPr>
            <p:ph type="body" idx="3"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5" name="Google Shape;245;p74"/>
          <p:cNvSpPr txBox="1">
            <a:spLocks noGrp="1"/>
          </p:cNvSpPr>
          <p:nvPr>
            <p:ph type="body" idx="4"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6" name="Google Shape;246;p74"/>
          <p:cNvSpPr txBox="1">
            <a:spLocks noGrp="1"/>
          </p:cNvSpPr>
          <p:nvPr>
            <p:ph type="body" idx="5"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7" name="Google Shape;247;p74"/>
          <p:cNvSpPr txBox="1">
            <a:spLocks noGrp="1"/>
          </p:cNvSpPr>
          <p:nvPr>
            <p:ph type="body" idx="6"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Orange section + title">
  <p:cSld name="1_Orange section + title">
    <p:bg>
      <p:bgPr>
        <a:solidFill>
          <a:srgbClr val="FAB928"/>
        </a:solidFill>
        <a:effectLst/>
      </p:bgPr>
    </p:bg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2" name="Google Shape;262;p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8000" y="288031"/>
            <a:ext cx="495150" cy="495150"/>
          </a:xfrm>
          <a:prstGeom prst="rect">
            <a:avLst/>
          </a:prstGeom>
          <a:noFill/>
          <a:ln>
            <a:noFill/>
          </a:ln>
        </p:spPr>
      </p:pic>
      <p:sp>
        <p:nvSpPr>
          <p:cNvPr id="263" name="Google Shape;263;p38"/>
          <p:cNvSpPr txBox="1">
            <a:spLocks noGrp="1"/>
          </p:cNvSpPr>
          <p:nvPr>
            <p:ph type="ctrTitle"/>
          </p:nvPr>
        </p:nvSpPr>
        <p:spPr>
          <a:xfrm>
            <a:off x="866063" y="3078114"/>
            <a:ext cx="10486149" cy="16470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Trebuchet MS"/>
              <a:buNone/>
              <a:defRPr sz="66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9pPr>
          </a:lstStyle>
          <a:p>
            <a:endParaRPr/>
          </a:p>
        </p:txBody>
      </p:sp>
      <p:sp>
        <p:nvSpPr>
          <p:cNvPr id="264" name="Google Shape;264;p38"/>
          <p:cNvSpPr txBox="1">
            <a:spLocks noGrp="1"/>
          </p:cNvSpPr>
          <p:nvPr>
            <p:ph type="subTitle" idx="1"/>
          </p:nvPr>
        </p:nvSpPr>
        <p:spPr>
          <a:xfrm>
            <a:off x="866063" y="2498713"/>
            <a:ext cx="10486149" cy="5136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700"/>
              <a:buFont typeface="Arial"/>
              <a:buNone/>
              <a:defRPr sz="2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265" name="Google Shape;265;p38"/>
          <p:cNvSpPr txBox="1">
            <a:spLocks noGrp="1"/>
          </p:cNvSpPr>
          <p:nvPr>
            <p:ph type="sldNum" idx="12"/>
          </p:nvPr>
        </p:nvSpPr>
        <p:spPr>
          <a:xfrm>
            <a:off x="11483721" y="5800179"/>
            <a:ext cx="5948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BE"/>
              <a:t>‹#›</a:t>
            </a:fld>
            <a:endParaRPr/>
          </a:p>
        </p:txBody>
      </p:sp>
      <p:sp>
        <p:nvSpPr>
          <p:cNvPr id="266" name="Google Shape;266;p38"/>
          <p:cNvSpPr txBox="1">
            <a:spLocks noGrp="1"/>
          </p:cNvSpPr>
          <p:nvPr>
            <p:ph type="ftr" idx="11"/>
          </p:nvPr>
        </p:nvSpPr>
        <p:spPr>
          <a:xfrm rot="5400000">
            <a:off x="9827347" y="2710269"/>
            <a:ext cx="39012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cxnSp>
        <p:nvCxnSpPr>
          <p:cNvPr id="267" name="Google Shape;267;p38"/>
          <p:cNvCxnSpPr/>
          <p:nvPr/>
        </p:nvCxnSpPr>
        <p:spPr>
          <a:xfrm>
            <a:off x="839791" y="6021388"/>
            <a:ext cx="719705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p86"/>
          <p:cNvSpPr/>
          <p:nvPr/>
        </p:nvSpPr>
        <p:spPr>
          <a:xfrm>
            <a:off x="-4800" y="0"/>
            <a:ext cx="17424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0" name="Google Shape;270;p86"/>
          <p:cNvSpPr/>
          <p:nvPr/>
        </p:nvSpPr>
        <p:spPr>
          <a:xfrm>
            <a:off x="1737600" y="0"/>
            <a:ext cx="1742400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1" name="Google Shape;271;p86"/>
          <p:cNvSpPr/>
          <p:nvPr/>
        </p:nvSpPr>
        <p:spPr>
          <a:xfrm>
            <a:off x="3480000" y="1527"/>
            <a:ext cx="1742400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2" name="Google Shape;272;p86"/>
          <p:cNvSpPr/>
          <p:nvPr/>
        </p:nvSpPr>
        <p:spPr>
          <a:xfrm>
            <a:off x="5222400" y="1527"/>
            <a:ext cx="1742400" cy="7200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3" name="Google Shape;273;p86"/>
          <p:cNvSpPr/>
          <p:nvPr/>
        </p:nvSpPr>
        <p:spPr>
          <a:xfrm rot="10800000">
            <a:off x="6964800" y="1527"/>
            <a:ext cx="1742400" cy="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4" name="Google Shape;274;p86"/>
          <p:cNvSpPr/>
          <p:nvPr/>
        </p:nvSpPr>
        <p:spPr>
          <a:xfrm rot="10800000">
            <a:off x="8707200" y="1527"/>
            <a:ext cx="1742400" cy="7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5" name="Google Shape;275;p86"/>
          <p:cNvSpPr/>
          <p:nvPr/>
        </p:nvSpPr>
        <p:spPr>
          <a:xfrm rot="10800000">
            <a:off x="10449600" y="1527"/>
            <a:ext cx="1742400" cy="72000"/>
          </a:xfrm>
          <a:prstGeom prst="rect">
            <a:avLst/>
          </a:prstGeom>
          <a:solidFill>
            <a:srgbClr val="23914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6" name="Google Shape;276;p86"/>
          <p:cNvSpPr/>
          <p:nvPr/>
        </p:nvSpPr>
        <p:spPr>
          <a:xfrm rot="-5400000">
            <a:off x="-3397800" y="3393000"/>
            <a:ext cx="6858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7" name="Google Shape;277;p86"/>
          <p:cNvSpPr/>
          <p:nvPr/>
        </p:nvSpPr>
        <p:spPr>
          <a:xfrm rot="-5400000">
            <a:off x="8726999" y="3393000"/>
            <a:ext cx="6858000" cy="72000"/>
          </a:xfrm>
          <a:prstGeom prst="rect">
            <a:avLst/>
          </a:prstGeom>
          <a:solidFill>
            <a:srgbClr val="23914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8" name="Google Shape;278;p86"/>
          <p:cNvSpPr/>
          <p:nvPr/>
        </p:nvSpPr>
        <p:spPr>
          <a:xfrm>
            <a:off x="-4800" y="6784473"/>
            <a:ext cx="17424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9" name="Google Shape;279;p86"/>
          <p:cNvSpPr/>
          <p:nvPr/>
        </p:nvSpPr>
        <p:spPr>
          <a:xfrm>
            <a:off x="1737600" y="6784473"/>
            <a:ext cx="1742400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0" name="Google Shape;280;p86"/>
          <p:cNvSpPr/>
          <p:nvPr/>
        </p:nvSpPr>
        <p:spPr>
          <a:xfrm>
            <a:off x="3480000" y="6786000"/>
            <a:ext cx="1742400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1" name="Google Shape;281;p86"/>
          <p:cNvSpPr/>
          <p:nvPr/>
        </p:nvSpPr>
        <p:spPr>
          <a:xfrm>
            <a:off x="5222400" y="6786000"/>
            <a:ext cx="1742400" cy="7200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2" name="Google Shape;282;p86"/>
          <p:cNvSpPr/>
          <p:nvPr/>
        </p:nvSpPr>
        <p:spPr>
          <a:xfrm rot="10800000">
            <a:off x="6964800" y="6786000"/>
            <a:ext cx="1742400" cy="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3" name="Google Shape;283;p86"/>
          <p:cNvSpPr/>
          <p:nvPr/>
        </p:nvSpPr>
        <p:spPr>
          <a:xfrm rot="10800000">
            <a:off x="8707200" y="6786000"/>
            <a:ext cx="1742400" cy="7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4" name="Google Shape;284;p86"/>
          <p:cNvSpPr/>
          <p:nvPr/>
        </p:nvSpPr>
        <p:spPr>
          <a:xfrm rot="10800000">
            <a:off x="10449600" y="6786000"/>
            <a:ext cx="1742400" cy="72000"/>
          </a:xfrm>
          <a:prstGeom prst="rect">
            <a:avLst/>
          </a:prstGeom>
          <a:solidFill>
            <a:srgbClr val="23914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85" name="Google Shape;285;p8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97632" y="116632"/>
            <a:ext cx="1700485" cy="1793376"/>
          </a:xfrm>
          <a:prstGeom prst="rect">
            <a:avLst/>
          </a:prstGeom>
          <a:noFill/>
          <a:ln>
            <a:noFill/>
          </a:ln>
        </p:spPr>
      </p:pic>
      <p:sp>
        <p:nvSpPr>
          <p:cNvPr id="286" name="Google Shape;286;p86"/>
          <p:cNvSpPr txBox="1">
            <a:spLocks noGrp="1"/>
          </p:cNvSpPr>
          <p:nvPr>
            <p:ph type="ctrTitle"/>
          </p:nvPr>
        </p:nvSpPr>
        <p:spPr>
          <a:xfrm>
            <a:off x="866063" y="2068176"/>
            <a:ext cx="10486149" cy="16470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Trebuchet MS"/>
              <a:buNone/>
              <a:defRPr sz="6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9pPr>
          </a:lstStyle>
          <a:p>
            <a:endParaRPr/>
          </a:p>
        </p:txBody>
      </p:sp>
      <p:sp>
        <p:nvSpPr>
          <p:cNvPr id="287" name="Google Shape;287;p86"/>
          <p:cNvSpPr txBox="1">
            <a:spLocks noGrp="1"/>
          </p:cNvSpPr>
          <p:nvPr>
            <p:ph type="subTitle" idx="1"/>
          </p:nvPr>
        </p:nvSpPr>
        <p:spPr>
          <a:xfrm>
            <a:off x="866063" y="3849595"/>
            <a:ext cx="10486149" cy="7639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cxnSp>
        <p:nvCxnSpPr>
          <p:cNvPr id="288" name="Google Shape;288;p86"/>
          <p:cNvCxnSpPr/>
          <p:nvPr/>
        </p:nvCxnSpPr>
        <p:spPr>
          <a:xfrm>
            <a:off x="839788" y="5157192"/>
            <a:ext cx="10512425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>
          <p15:clr>
            <a:srgbClr val="FBAE40"/>
          </p15:clr>
        </p15:guide>
        <p15:guide id="2" pos="529">
          <p15:clr>
            <a:srgbClr val="FBAE40"/>
          </p15:clr>
        </p15:guide>
        <p15:guide id="3" pos="7151">
          <p15:clr>
            <a:srgbClr val="FBAE40"/>
          </p15:clr>
        </p15:guide>
        <p15:guide id="4" orient="horz" pos="379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2 Content" type="twoObj">
  <p:cSld name="TWO_OBJECTS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46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46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" name="Google Shape;47;p46"/>
          <p:cNvSpPr txBox="1">
            <a:spLocks noGrp="1"/>
          </p:cNvSpPr>
          <p:nvPr>
            <p:ph type="body" idx="2"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Matière">
  <p:cSld name="TableMatière">
    <p:spTree>
      <p:nvGrpSpPr>
        <p:cNvPr id="1" name="Shape 2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" name="Google Shape;290;p87"/>
          <p:cNvSpPr/>
          <p:nvPr/>
        </p:nvSpPr>
        <p:spPr>
          <a:xfrm>
            <a:off x="-4800" y="0"/>
            <a:ext cx="17424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1" name="Google Shape;291;p87"/>
          <p:cNvSpPr/>
          <p:nvPr/>
        </p:nvSpPr>
        <p:spPr>
          <a:xfrm>
            <a:off x="1737600" y="0"/>
            <a:ext cx="1742400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2" name="Google Shape;292;p87"/>
          <p:cNvSpPr/>
          <p:nvPr/>
        </p:nvSpPr>
        <p:spPr>
          <a:xfrm>
            <a:off x="3480000" y="1527"/>
            <a:ext cx="1742400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3" name="Google Shape;293;p87"/>
          <p:cNvSpPr/>
          <p:nvPr/>
        </p:nvSpPr>
        <p:spPr>
          <a:xfrm>
            <a:off x="5222400" y="1527"/>
            <a:ext cx="1742400" cy="7200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4" name="Google Shape;294;p87"/>
          <p:cNvSpPr/>
          <p:nvPr/>
        </p:nvSpPr>
        <p:spPr>
          <a:xfrm rot="10800000">
            <a:off x="6964800" y="1527"/>
            <a:ext cx="1742400" cy="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5" name="Google Shape;295;p87"/>
          <p:cNvSpPr/>
          <p:nvPr/>
        </p:nvSpPr>
        <p:spPr>
          <a:xfrm rot="10800000">
            <a:off x="8707200" y="1527"/>
            <a:ext cx="1742400" cy="7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6" name="Google Shape;296;p87"/>
          <p:cNvSpPr/>
          <p:nvPr/>
        </p:nvSpPr>
        <p:spPr>
          <a:xfrm rot="10800000">
            <a:off x="10449600" y="1527"/>
            <a:ext cx="1742400" cy="72000"/>
          </a:xfrm>
          <a:prstGeom prst="rect">
            <a:avLst/>
          </a:prstGeom>
          <a:solidFill>
            <a:srgbClr val="23914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7" name="Google Shape;297;p87"/>
          <p:cNvSpPr txBox="1">
            <a:spLocks noGrp="1"/>
          </p:cNvSpPr>
          <p:nvPr>
            <p:ph type="title"/>
          </p:nvPr>
        </p:nvSpPr>
        <p:spPr>
          <a:xfrm>
            <a:off x="839786" y="1700808"/>
            <a:ext cx="10008741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rebuchet MS"/>
              <a:buNone/>
              <a:defRPr sz="4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9pPr>
          </a:lstStyle>
          <a:p>
            <a:endParaRPr/>
          </a:p>
        </p:txBody>
      </p:sp>
      <p:sp>
        <p:nvSpPr>
          <p:cNvPr id="298" name="Google Shape;298;p87"/>
          <p:cNvSpPr txBox="1">
            <a:spLocks noGrp="1"/>
          </p:cNvSpPr>
          <p:nvPr>
            <p:ph type="sldNum" idx="12"/>
          </p:nvPr>
        </p:nvSpPr>
        <p:spPr>
          <a:xfrm>
            <a:off x="11483721" y="5800179"/>
            <a:ext cx="5948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BE"/>
              <a:t>‹#›</a:t>
            </a:fld>
            <a:endParaRPr/>
          </a:p>
        </p:txBody>
      </p:sp>
      <p:pic>
        <p:nvPicPr>
          <p:cNvPr id="299" name="Google Shape;299;p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10233" y="821572"/>
            <a:ext cx="513678" cy="513678"/>
          </a:xfrm>
          <a:prstGeom prst="rect">
            <a:avLst/>
          </a:prstGeom>
          <a:noFill/>
          <a:ln>
            <a:noFill/>
          </a:ln>
        </p:spPr>
      </p:pic>
      <p:sp>
        <p:nvSpPr>
          <p:cNvPr id="300" name="Google Shape;300;p87"/>
          <p:cNvSpPr txBox="1">
            <a:spLocks noGrp="1"/>
          </p:cNvSpPr>
          <p:nvPr>
            <p:ph type="ftr" idx="11"/>
          </p:nvPr>
        </p:nvSpPr>
        <p:spPr>
          <a:xfrm rot="5400000">
            <a:off x="9827347" y="2710269"/>
            <a:ext cx="39012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cxnSp>
        <p:nvCxnSpPr>
          <p:cNvPr id="301" name="Google Shape;301;p87"/>
          <p:cNvCxnSpPr/>
          <p:nvPr/>
        </p:nvCxnSpPr>
        <p:spPr>
          <a:xfrm>
            <a:off x="839791" y="6021388"/>
            <a:ext cx="719705" cy="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2" name="Google Shape;302;p87"/>
          <p:cNvSpPr txBox="1">
            <a:spLocks noGrp="1"/>
          </p:cNvSpPr>
          <p:nvPr>
            <p:ph type="body" idx="1"/>
          </p:nvPr>
        </p:nvSpPr>
        <p:spPr>
          <a:xfrm>
            <a:off x="839785" y="3143232"/>
            <a:ext cx="10008742" cy="26077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2575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530"/>
              <a:buChar char="▶"/>
              <a:defRPr/>
            </a:lvl1pPr>
            <a:lvl2pPr marL="914400" lvl="1" indent="-30861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60"/>
              <a:buChar char="▶"/>
              <a:defRPr/>
            </a:lvl2pPr>
            <a:lvl3pPr marL="1371600" lvl="2" indent="-2857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00"/>
              <a:buChar char="▶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Char char="⁃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-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>
          <p15:clr>
            <a:srgbClr val="FBAE40"/>
          </p15:clr>
        </p15:guide>
        <p15:guide id="2" pos="529">
          <p15:clr>
            <a:srgbClr val="FBAE40"/>
          </p15:clr>
        </p15:guide>
        <p15:guide id="3" pos="7151">
          <p15:clr>
            <a:srgbClr val="FBAE40"/>
          </p15:clr>
        </p15:guide>
        <p15:guide id="4" orient="horz" pos="3793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Matière">
  <p:cSld name="1_TableMatière"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p88"/>
          <p:cNvSpPr/>
          <p:nvPr/>
        </p:nvSpPr>
        <p:spPr>
          <a:xfrm>
            <a:off x="-4800" y="0"/>
            <a:ext cx="17424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5" name="Google Shape;305;p88"/>
          <p:cNvSpPr/>
          <p:nvPr/>
        </p:nvSpPr>
        <p:spPr>
          <a:xfrm>
            <a:off x="1737600" y="0"/>
            <a:ext cx="1742400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6" name="Google Shape;306;p88"/>
          <p:cNvSpPr/>
          <p:nvPr/>
        </p:nvSpPr>
        <p:spPr>
          <a:xfrm>
            <a:off x="3480000" y="1527"/>
            <a:ext cx="1742400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7" name="Google Shape;307;p88"/>
          <p:cNvSpPr/>
          <p:nvPr/>
        </p:nvSpPr>
        <p:spPr>
          <a:xfrm>
            <a:off x="5222400" y="1527"/>
            <a:ext cx="1742400" cy="7200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8" name="Google Shape;308;p88"/>
          <p:cNvSpPr/>
          <p:nvPr/>
        </p:nvSpPr>
        <p:spPr>
          <a:xfrm rot="10800000">
            <a:off x="6964800" y="1527"/>
            <a:ext cx="1742400" cy="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9" name="Google Shape;309;p88"/>
          <p:cNvSpPr/>
          <p:nvPr/>
        </p:nvSpPr>
        <p:spPr>
          <a:xfrm rot="10800000">
            <a:off x="8707200" y="1527"/>
            <a:ext cx="1742400" cy="7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0" name="Google Shape;310;p88"/>
          <p:cNvSpPr/>
          <p:nvPr/>
        </p:nvSpPr>
        <p:spPr>
          <a:xfrm rot="10800000">
            <a:off x="10449600" y="1527"/>
            <a:ext cx="1742400" cy="72000"/>
          </a:xfrm>
          <a:prstGeom prst="rect">
            <a:avLst/>
          </a:prstGeom>
          <a:solidFill>
            <a:srgbClr val="23914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311;p88"/>
          <p:cNvSpPr txBox="1">
            <a:spLocks noGrp="1"/>
          </p:cNvSpPr>
          <p:nvPr>
            <p:ph type="body" idx="1"/>
          </p:nvPr>
        </p:nvSpPr>
        <p:spPr>
          <a:xfrm>
            <a:off x="839788" y="3140968"/>
            <a:ext cx="10008739" cy="23754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302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marR="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71600" marR="0" lvl="2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28800" marR="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286000" marR="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43200" marR="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00400" marR="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657600" marR="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14800" marR="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312" name="Google Shape;312;p88"/>
          <p:cNvSpPr txBox="1">
            <a:spLocks noGrp="1"/>
          </p:cNvSpPr>
          <p:nvPr>
            <p:ph type="title"/>
          </p:nvPr>
        </p:nvSpPr>
        <p:spPr>
          <a:xfrm>
            <a:off x="839786" y="1700808"/>
            <a:ext cx="10008741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rebuchet MS"/>
              <a:buNone/>
              <a:defRPr sz="4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9pPr>
          </a:lstStyle>
          <a:p>
            <a:endParaRPr/>
          </a:p>
        </p:txBody>
      </p:sp>
      <p:sp>
        <p:nvSpPr>
          <p:cNvPr id="313" name="Google Shape;313;p88"/>
          <p:cNvSpPr txBox="1">
            <a:spLocks noGrp="1"/>
          </p:cNvSpPr>
          <p:nvPr>
            <p:ph type="sldNum" idx="12"/>
          </p:nvPr>
        </p:nvSpPr>
        <p:spPr>
          <a:xfrm>
            <a:off x="11483721" y="5800179"/>
            <a:ext cx="5948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BE"/>
              <a:t>‹#›</a:t>
            </a:fld>
            <a:endParaRPr/>
          </a:p>
        </p:txBody>
      </p:sp>
      <p:pic>
        <p:nvPicPr>
          <p:cNvPr id="314" name="Google Shape;314;p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10233" y="821572"/>
            <a:ext cx="513678" cy="513678"/>
          </a:xfrm>
          <a:prstGeom prst="rect">
            <a:avLst/>
          </a:prstGeom>
          <a:noFill/>
          <a:ln>
            <a:noFill/>
          </a:ln>
        </p:spPr>
      </p:pic>
      <p:sp>
        <p:nvSpPr>
          <p:cNvPr id="315" name="Google Shape;315;p88"/>
          <p:cNvSpPr txBox="1">
            <a:spLocks noGrp="1"/>
          </p:cNvSpPr>
          <p:nvPr>
            <p:ph type="ftr" idx="11"/>
          </p:nvPr>
        </p:nvSpPr>
        <p:spPr>
          <a:xfrm rot="5400000">
            <a:off x="9827347" y="2710269"/>
            <a:ext cx="39012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cxnSp>
        <p:nvCxnSpPr>
          <p:cNvPr id="316" name="Google Shape;316;p88"/>
          <p:cNvCxnSpPr/>
          <p:nvPr/>
        </p:nvCxnSpPr>
        <p:spPr>
          <a:xfrm>
            <a:off x="839791" y="6021388"/>
            <a:ext cx="719705" cy="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>
          <p15:clr>
            <a:srgbClr val="FBAE40"/>
          </p15:clr>
        </p15:guide>
        <p15:guide id="2" pos="529">
          <p15:clr>
            <a:srgbClr val="FBAE40"/>
          </p15:clr>
        </p15:guide>
        <p15:guide id="3" pos="7151">
          <p15:clr>
            <a:srgbClr val="FBAE40"/>
          </p15:clr>
        </p15:guide>
        <p15:guide id="4" orient="horz" pos="3793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+image">
  <p:cSld name="Titre+image">
    <p:spTree>
      <p:nvGrpSpPr>
        <p:cNvPr id="1" name="Shape 3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Google Shape;318;p89"/>
          <p:cNvSpPr>
            <a:spLocks noGrp="1"/>
          </p:cNvSpPr>
          <p:nvPr>
            <p:ph type="pic" idx="2"/>
          </p:nvPr>
        </p:nvSpPr>
        <p:spPr>
          <a:xfrm>
            <a:off x="5222400" y="72000"/>
            <a:ext cx="6980713" cy="6784413"/>
          </a:xfrm>
          <a:prstGeom prst="rect">
            <a:avLst/>
          </a:prstGeom>
          <a:noFill/>
          <a:ln>
            <a:noFill/>
          </a:ln>
        </p:spPr>
      </p:sp>
      <p:sp>
        <p:nvSpPr>
          <p:cNvPr id="319" name="Google Shape;319;p89"/>
          <p:cNvSpPr/>
          <p:nvPr/>
        </p:nvSpPr>
        <p:spPr>
          <a:xfrm>
            <a:off x="-4800" y="0"/>
            <a:ext cx="17424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0" name="Google Shape;320;p89"/>
          <p:cNvSpPr/>
          <p:nvPr/>
        </p:nvSpPr>
        <p:spPr>
          <a:xfrm>
            <a:off x="1737600" y="0"/>
            <a:ext cx="1742400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1" name="Google Shape;321;p89"/>
          <p:cNvSpPr/>
          <p:nvPr/>
        </p:nvSpPr>
        <p:spPr>
          <a:xfrm>
            <a:off x="3480000" y="1527"/>
            <a:ext cx="1742400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2" name="Google Shape;322;p89"/>
          <p:cNvSpPr/>
          <p:nvPr/>
        </p:nvSpPr>
        <p:spPr>
          <a:xfrm>
            <a:off x="5222400" y="1527"/>
            <a:ext cx="1742400" cy="7200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3" name="Google Shape;323;p89"/>
          <p:cNvSpPr/>
          <p:nvPr/>
        </p:nvSpPr>
        <p:spPr>
          <a:xfrm rot="10800000">
            <a:off x="6964800" y="1527"/>
            <a:ext cx="1742400" cy="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4" name="Google Shape;324;p89"/>
          <p:cNvSpPr/>
          <p:nvPr/>
        </p:nvSpPr>
        <p:spPr>
          <a:xfrm rot="10800000">
            <a:off x="8707200" y="1527"/>
            <a:ext cx="1742400" cy="7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5" name="Google Shape;325;p89"/>
          <p:cNvSpPr/>
          <p:nvPr/>
        </p:nvSpPr>
        <p:spPr>
          <a:xfrm rot="10800000">
            <a:off x="10449600" y="1527"/>
            <a:ext cx="1742400" cy="72000"/>
          </a:xfrm>
          <a:prstGeom prst="rect">
            <a:avLst/>
          </a:prstGeom>
          <a:solidFill>
            <a:srgbClr val="23914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6" name="Google Shape;326;p89"/>
          <p:cNvSpPr txBox="1">
            <a:spLocks noGrp="1"/>
          </p:cNvSpPr>
          <p:nvPr>
            <p:ph type="title"/>
          </p:nvPr>
        </p:nvSpPr>
        <p:spPr>
          <a:xfrm>
            <a:off x="839791" y="2084822"/>
            <a:ext cx="3960065" cy="323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rebuchet MS"/>
              <a:buNone/>
              <a:defRPr sz="48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9pPr>
          </a:lstStyle>
          <a:p>
            <a:endParaRPr/>
          </a:p>
        </p:txBody>
      </p:sp>
      <p:pic>
        <p:nvPicPr>
          <p:cNvPr id="327" name="Google Shape;327;p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10233" y="821572"/>
            <a:ext cx="513678" cy="513678"/>
          </a:xfrm>
          <a:prstGeom prst="rect">
            <a:avLst/>
          </a:prstGeom>
          <a:noFill/>
          <a:ln>
            <a:noFill/>
          </a:ln>
        </p:spPr>
      </p:pic>
      <p:sp>
        <p:nvSpPr>
          <p:cNvPr id="328" name="Google Shape;328;p89"/>
          <p:cNvSpPr txBox="1">
            <a:spLocks noGrp="1"/>
          </p:cNvSpPr>
          <p:nvPr>
            <p:ph type="sldNum" idx="12"/>
          </p:nvPr>
        </p:nvSpPr>
        <p:spPr>
          <a:xfrm>
            <a:off x="11483721" y="5800179"/>
            <a:ext cx="5948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BE"/>
              <a:t>‹#›</a:t>
            </a:fld>
            <a:endParaRPr/>
          </a:p>
        </p:txBody>
      </p:sp>
      <p:sp>
        <p:nvSpPr>
          <p:cNvPr id="329" name="Google Shape;329;p89"/>
          <p:cNvSpPr txBox="1">
            <a:spLocks noGrp="1"/>
          </p:cNvSpPr>
          <p:nvPr>
            <p:ph type="ftr" idx="11"/>
          </p:nvPr>
        </p:nvSpPr>
        <p:spPr>
          <a:xfrm rot="5400000">
            <a:off x="9827347" y="2710269"/>
            <a:ext cx="39012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0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cxnSp>
        <p:nvCxnSpPr>
          <p:cNvPr id="330" name="Google Shape;330;p89"/>
          <p:cNvCxnSpPr/>
          <p:nvPr/>
        </p:nvCxnSpPr>
        <p:spPr>
          <a:xfrm>
            <a:off x="839791" y="6021388"/>
            <a:ext cx="719705" cy="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>
          <p15:clr>
            <a:srgbClr val="FBAE40"/>
          </p15:clr>
        </p15:guide>
        <p15:guide id="2" pos="529">
          <p15:clr>
            <a:srgbClr val="FBAE40"/>
          </p15:clr>
        </p15:guide>
        <p15:guide id="3" pos="7151">
          <p15:clr>
            <a:srgbClr val="FBAE40"/>
          </p15:clr>
        </p15:guide>
        <p15:guide id="4" orient="horz" pos="3793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re + Contenu + Img">
  <p:cSld name="1_Titre + Contenu + Img">
    <p:spTree>
      <p:nvGrpSpPr>
        <p:cNvPr id="1" name="Shape 3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2" name="Google Shape;332;p90"/>
          <p:cNvSpPr/>
          <p:nvPr/>
        </p:nvSpPr>
        <p:spPr>
          <a:xfrm>
            <a:off x="5222400" y="72000"/>
            <a:ext cx="6969600" cy="6786000"/>
          </a:xfrm>
          <a:prstGeom prst="rect">
            <a:avLst/>
          </a:prstGeom>
          <a:solidFill>
            <a:srgbClr val="F6FAFA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333" name="Google Shape;333;p90"/>
          <p:cNvSpPr/>
          <p:nvPr/>
        </p:nvSpPr>
        <p:spPr>
          <a:xfrm>
            <a:off x="-4800" y="0"/>
            <a:ext cx="17424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4" name="Google Shape;334;p90"/>
          <p:cNvSpPr/>
          <p:nvPr/>
        </p:nvSpPr>
        <p:spPr>
          <a:xfrm>
            <a:off x="1737600" y="0"/>
            <a:ext cx="1742400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5" name="Google Shape;335;p90"/>
          <p:cNvSpPr/>
          <p:nvPr/>
        </p:nvSpPr>
        <p:spPr>
          <a:xfrm>
            <a:off x="3480000" y="1527"/>
            <a:ext cx="1742400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6" name="Google Shape;336;p90"/>
          <p:cNvSpPr/>
          <p:nvPr/>
        </p:nvSpPr>
        <p:spPr>
          <a:xfrm>
            <a:off x="5222400" y="1527"/>
            <a:ext cx="1742400" cy="7200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7" name="Google Shape;337;p90"/>
          <p:cNvSpPr/>
          <p:nvPr/>
        </p:nvSpPr>
        <p:spPr>
          <a:xfrm rot="10800000">
            <a:off x="6964800" y="1527"/>
            <a:ext cx="1742400" cy="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8" name="Google Shape;338;p90"/>
          <p:cNvSpPr/>
          <p:nvPr/>
        </p:nvSpPr>
        <p:spPr>
          <a:xfrm rot="10800000">
            <a:off x="8707200" y="1527"/>
            <a:ext cx="1742400" cy="7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9" name="Google Shape;339;p90"/>
          <p:cNvSpPr/>
          <p:nvPr/>
        </p:nvSpPr>
        <p:spPr>
          <a:xfrm rot="10800000">
            <a:off x="10449600" y="1527"/>
            <a:ext cx="1742400" cy="72000"/>
          </a:xfrm>
          <a:prstGeom prst="rect">
            <a:avLst/>
          </a:prstGeom>
          <a:solidFill>
            <a:srgbClr val="23914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40" name="Google Shape;340;p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10233" y="821572"/>
            <a:ext cx="513678" cy="513678"/>
          </a:xfrm>
          <a:prstGeom prst="rect">
            <a:avLst/>
          </a:prstGeom>
          <a:noFill/>
          <a:ln>
            <a:noFill/>
          </a:ln>
        </p:spPr>
      </p:pic>
      <p:sp>
        <p:nvSpPr>
          <p:cNvPr id="341" name="Google Shape;341;p90"/>
          <p:cNvSpPr txBox="1">
            <a:spLocks noGrp="1"/>
          </p:cNvSpPr>
          <p:nvPr>
            <p:ph type="sldNum" idx="12"/>
          </p:nvPr>
        </p:nvSpPr>
        <p:spPr>
          <a:xfrm>
            <a:off x="11483721" y="5800179"/>
            <a:ext cx="5948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BE"/>
              <a:t>‹#›</a:t>
            </a:fld>
            <a:endParaRPr/>
          </a:p>
        </p:txBody>
      </p:sp>
      <p:sp>
        <p:nvSpPr>
          <p:cNvPr id="342" name="Google Shape;342;p90"/>
          <p:cNvSpPr txBox="1">
            <a:spLocks noGrp="1"/>
          </p:cNvSpPr>
          <p:nvPr>
            <p:ph type="ftr" idx="11"/>
          </p:nvPr>
        </p:nvSpPr>
        <p:spPr>
          <a:xfrm rot="5400000">
            <a:off x="9827347" y="2710269"/>
            <a:ext cx="39012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343" name="Google Shape;343;p90"/>
          <p:cNvSpPr txBox="1">
            <a:spLocks noGrp="1"/>
          </p:cNvSpPr>
          <p:nvPr>
            <p:ph type="title"/>
          </p:nvPr>
        </p:nvSpPr>
        <p:spPr>
          <a:xfrm>
            <a:off x="839791" y="2084822"/>
            <a:ext cx="3960065" cy="323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rebuchet MS"/>
              <a:buNone/>
              <a:defRPr sz="48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9pPr>
          </a:lstStyle>
          <a:p>
            <a:endParaRPr/>
          </a:p>
        </p:txBody>
      </p:sp>
      <p:cxnSp>
        <p:nvCxnSpPr>
          <p:cNvPr id="344" name="Google Shape;344;p90"/>
          <p:cNvCxnSpPr/>
          <p:nvPr/>
        </p:nvCxnSpPr>
        <p:spPr>
          <a:xfrm>
            <a:off x="839791" y="6021388"/>
            <a:ext cx="719705" cy="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>
          <p15:clr>
            <a:srgbClr val="FBAE40"/>
          </p15:clr>
        </p15:guide>
        <p15:guide id="2" pos="529">
          <p15:clr>
            <a:srgbClr val="FBAE40"/>
          </p15:clr>
        </p15:guide>
        <p15:guide id="3" pos="7151">
          <p15:clr>
            <a:srgbClr val="FBAE40"/>
          </p15:clr>
        </p15:guide>
        <p15:guide id="4" orient="horz" pos="3793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re">
  <p:cSld name="1_Titre">
    <p:spTree>
      <p:nvGrpSpPr>
        <p:cNvPr id="1" name="Shape 3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" name="Google Shape;346;p91"/>
          <p:cNvSpPr/>
          <p:nvPr/>
        </p:nvSpPr>
        <p:spPr>
          <a:xfrm>
            <a:off x="-4800" y="0"/>
            <a:ext cx="17424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7" name="Google Shape;347;p91"/>
          <p:cNvSpPr/>
          <p:nvPr/>
        </p:nvSpPr>
        <p:spPr>
          <a:xfrm>
            <a:off x="1737600" y="0"/>
            <a:ext cx="1742400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8" name="Google Shape;348;p91"/>
          <p:cNvSpPr/>
          <p:nvPr/>
        </p:nvSpPr>
        <p:spPr>
          <a:xfrm>
            <a:off x="3480000" y="1527"/>
            <a:ext cx="1742400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9" name="Google Shape;349;p91"/>
          <p:cNvSpPr/>
          <p:nvPr/>
        </p:nvSpPr>
        <p:spPr>
          <a:xfrm>
            <a:off x="5222400" y="1527"/>
            <a:ext cx="1742400" cy="7200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0" name="Google Shape;350;p91"/>
          <p:cNvSpPr/>
          <p:nvPr/>
        </p:nvSpPr>
        <p:spPr>
          <a:xfrm rot="10800000">
            <a:off x="6964800" y="1527"/>
            <a:ext cx="1742400" cy="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1" name="Google Shape;351;p91"/>
          <p:cNvSpPr/>
          <p:nvPr/>
        </p:nvSpPr>
        <p:spPr>
          <a:xfrm rot="10800000">
            <a:off x="8707200" y="1527"/>
            <a:ext cx="1742400" cy="7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2" name="Google Shape;352;p91"/>
          <p:cNvSpPr/>
          <p:nvPr/>
        </p:nvSpPr>
        <p:spPr>
          <a:xfrm rot="10800000">
            <a:off x="10449600" y="1527"/>
            <a:ext cx="1742400" cy="72000"/>
          </a:xfrm>
          <a:prstGeom prst="rect">
            <a:avLst/>
          </a:prstGeom>
          <a:solidFill>
            <a:srgbClr val="23914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53" name="Google Shape;353;p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10233" y="821572"/>
            <a:ext cx="513678" cy="513678"/>
          </a:xfrm>
          <a:prstGeom prst="rect">
            <a:avLst/>
          </a:prstGeom>
          <a:noFill/>
          <a:ln>
            <a:noFill/>
          </a:ln>
        </p:spPr>
      </p:pic>
      <p:sp>
        <p:nvSpPr>
          <p:cNvPr id="354" name="Google Shape;354;p91"/>
          <p:cNvSpPr txBox="1">
            <a:spLocks noGrp="1"/>
          </p:cNvSpPr>
          <p:nvPr>
            <p:ph type="sldNum" idx="12"/>
          </p:nvPr>
        </p:nvSpPr>
        <p:spPr>
          <a:xfrm>
            <a:off x="11483721" y="5800179"/>
            <a:ext cx="5948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BE"/>
              <a:t>‹#›</a:t>
            </a:fld>
            <a:endParaRPr/>
          </a:p>
        </p:txBody>
      </p:sp>
      <p:sp>
        <p:nvSpPr>
          <p:cNvPr id="355" name="Google Shape;355;p91"/>
          <p:cNvSpPr txBox="1">
            <a:spLocks noGrp="1"/>
          </p:cNvSpPr>
          <p:nvPr>
            <p:ph type="ftr" idx="11"/>
          </p:nvPr>
        </p:nvSpPr>
        <p:spPr>
          <a:xfrm rot="5400000">
            <a:off x="9827347" y="2710269"/>
            <a:ext cx="39012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0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356" name="Google Shape;356;p91"/>
          <p:cNvSpPr txBox="1">
            <a:spLocks noGrp="1"/>
          </p:cNvSpPr>
          <p:nvPr>
            <p:ph type="title"/>
          </p:nvPr>
        </p:nvSpPr>
        <p:spPr>
          <a:xfrm>
            <a:off x="839791" y="1556792"/>
            <a:ext cx="10512422" cy="6627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rebuchet MS"/>
              <a:buNone/>
              <a:defRPr sz="28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9pPr>
          </a:lstStyle>
          <a:p>
            <a:endParaRPr/>
          </a:p>
        </p:txBody>
      </p:sp>
      <p:cxnSp>
        <p:nvCxnSpPr>
          <p:cNvPr id="357" name="Google Shape;357;p91"/>
          <p:cNvCxnSpPr/>
          <p:nvPr/>
        </p:nvCxnSpPr>
        <p:spPr>
          <a:xfrm>
            <a:off x="839791" y="6021388"/>
            <a:ext cx="719705" cy="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>
          <p15:clr>
            <a:srgbClr val="FBAE40"/>
          </p15:clr>
        </p15:guide>
        <p15:guide id="2" pos="529">
          <p15:clr>
            <a:srgbClr val="FBAE40"/>
          </p15:clr>
        </p15:guide>
        <p15:guide id="3" pos="7151">
          <p15:clr>
            <a:srgbClr val="FBAE40"/>
          </p15:clr>
        </p15:guide>
        <p15:guide id="4" orient="horz" pos="3793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ver">
  <p:cSld name="1_Cover">
    <p:spTree>
      <p:nvGrpSpPr>
        <p:cNvPr id="1" name="Shape 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" name="Google Shape;359;p92"/>
          <p:cNvSpPr/>
          <p:nvPr/>
        </p:nvSpPr>
        <p:spPr>
          <a:xfrm>
            <a:off x="-4800" y="0"/>
            <a:ext cx="17424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0" name="Google Shape;360;p92"/>
          <p:cNvSpPr/>
          <p:nvPr/>
        </p:nvSpPr>
        <p:spPr>
          <a:xfrm>
            <a:off x="1737600" y="0"/>
            <a:ext cx="1742400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1" name="Google Shape;361;p92"/>
          <p:cNvSpPr/>
          <p:nvPr/>
        </p:nvSpPr>
        <p:spPr>
          <a:xfrm>
            <a:off x="3480000" y="1527"/>
            <a:ext cx="1742400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2" name="Google Shape;362;p92"/>
          <p:cNvSpPr/>
          <p:nvPr/>
        </p:nvSpPr>
        <p:spPr>
          <a:xfrm>
            <a:off x="5222400" y="1527"/>
            <a:ext cx="1742400" cy="7200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3" name="Google Shape;363;p92"/>
          <p:cNvSpPr/>
          <p:nvPr/>
        </p:nvSpPr>
        <p:spPr>
          <a:xfrm rot="10800000">
            <a:off x="6964800" y="1527"/>
            <a:ext cx="1742400" cy="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4" name="Google Shape;364;p92"/>
          <p:cNvSpPr/>
          <p:nvPr/>
        </p:nvSpPr>
        <p:spPr>
          <a:xfrm rot="10800000">
            <a:off x="8707200" y="1527"/>
            <a:ext cx="1742400" cy="7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5" name="Google Shape;365;p92"/>
          <p:cNvSpPr/>
          <p:nvPr/>
        </p:nvSpPr>
        <p:spPr>
          <a:xfrm rot="10800000">
            <a:off x="10449600" y="1527"/>
            <a:ext cx="1742400" cy="72000"/>
          </a:xfrm>
          <a:prstGeom prst="rect">
            <a:avLst/>
          </a:prstGeom>
          <a:solidFill>
            <a:srgbClr val="23914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6" name="Google Shape;366;p92"/>
          <p:cNvSpPr/>
          <p:nvPr/>
        </p:nvSpPr>
        <p:spPr>
          <a:xfrm rot="-5400000">
            <a:off x="-3397800" y="3393000"/>
            <a:ext cx="6858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7" name="Google Shape;367;p92"/>
          <p:cNvSpPr/>
          <p:nvPr/>
        </p:nvSpPr>
        <p:spPr>
          <a:xfrm rot="-5400000">
            <a:off x="8726999" y="3393000"/>
            <a:ext cx="6858000" cy="72000"/>
          </a:xfrm>
          <a:prstGeom prst="rect">
            <a:avLst/>
          </a:prstGeom>
          <a:solidFill>
            <a:srgbClr val="23914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8" name="Google Shape;368;p92"/>
          <p:cNvSpPr/>
          <p:nvPr/>
        </p:nvSpPr>
        <p:spPr>
          <a:xfrm>
            <a:off x="-4800" y="6784473"/>
            <a:ext cx="17424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9" name="Google Shape;369;p92"/>
          <p:cNvSpPr/>
          <p:nvPr/>
        </p:nvSpPr>
        <p:spPr>
          <a:xfrm>
            <a:off x="1737600" y="6784473"/>
            <a:ext cx="1742400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0" name="Google Shape;370;p92"/>
          <p:cNvSpPr/>
          <p:nvPr/>
        </p:nvSpPr>
        <p:spPr>
          <a:xfrm>
            <a:off x="3480000" y="6786000"/>
            <a:ext cx="1742400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1" name="Google Shape;371;p92"/>
          <p:cNvSpPr/>
          <p:nvPr/>
        </p:nvSpPr>
        <p:spPr>
          <a:xfrm>
            <a:off x="5222400" y="6786000"/>
            <a:ext cx="1742400" cy="7200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2" name="Google Shape;372;p92"/>
          <p:cNvSpPr/>
          <p:nvPr/>
        </p:nvSpPr>
        <p:spPr>
          <a:xfrm rot="10800000">
            <a:off x="6964800" y="6786000"/>
            <a:ext cx="1742400" cy="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3" name="Google Shape;373;p92"/>
          <p:cNvSpPr/>
          <p:nvPr/>
        </p:nvSpPr>
        <p:spPr>
          <a:xfrm rot="10800000">
            <a:off x="8707200" y="6786000"/>
            <a:ext cx="1742400" cy="7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4" name="Google Shape;374;p92"/>
          <p:cNvSpPr/>
          <p:nvPr/>
        </p:nvSpPr>
        <p:spPr>
          <a:xfrm rot="10800000">
            <a:off x="10449600" y="6786000"/>
            <a:ext cx="1742400" cy="72000"/>
          </a:xfrm>
          <a:prstGeom prst="rect">
            <a:avLst/>
          </a:prstGeom>
          <a:solidFill>
            <a:srgbClr val="23914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5" name="Google Shape;375;p92"/>
          <p:cNvSpPr txBox="1">
            <a:spLocks noGrp="1"/>
          </p:cNvSpPr>
          <p:nvPr>
            <p:ph type="ctrTitle"/>
          </p:nvPr>
        </p:nvSpPr>
        <p:spPr>
          <a:xfrm>
            <a:off x="866063" y="2068176"/>
            <a:ext cx="10486149" cy="16470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Trebuchet MS"/>
              <a:buNone/>
              <a:defRPr sz="6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9pPr>
          </a:lstStyle>
          <a:p>
            <a:endParaRPr/>
          </a:p>
        </p:txBody>
      </p:sp>
      <p:cxnSp>
        <p:nvCxnSpPr>
          <p:cNvPr id="376" name="Google Shape;376;p92"/>
          <p:cNvCxnSpPr/>
          <p:nvPr/>
        </p:nvCxnSpPr>
        <p:spPr>
          <a:xfrm>
            <a:off x="839788" y="5157192"/>
            <a:ext cx="10512425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77" name="Google Shape;377;p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538066" y="821572"/>
            <a:ext cx="1111067" cy="111106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>
          <p15:clr>
            <a:srgbClr val="FBAE40"/>
          </p15:clr>
        </p15:guide>
        <p15:guide id="2" pos="529">
          <p15:clr>
            <a:srgbClr val="FBAE40"/>
          </p15:clr>
        </p15:guide>
        <p15:guide id="3" pos="7151">
          <p15:clr>
            <a:srgbClr val="FBAE40"/>
          </p15:clr>
        </p15:guide>
        <p15:guide id="4" orient="horz" pos="3793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Intercalaire1">
  <p:cSld name="1_Intercalaire1">
    <p:bg>
      <p:bgPr>
        <a:solidFill>
          <a:schemeClr val="dk1"/>
        </a:solidFill>
        <a:effectLst/>
      </p:bgPr>
    </p:bg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93"/>
          <p:cNvSpPr/>
          <p:nvPr/>
        </p:nvSpPr>
        <p:spPr>
          <a:xfrm>
            <a:off x="-4800" y="0"/>
            <a:ext cx="17424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0" name="Google Shape;380;p93"/>
          <p:cNvSpPr/>
          <p:nvPr/>
        </p:nvSpPr>
        <p:spPr>
          <a:xfrm>
            <a:off x="1737600" y="0"/>
            <a:ext cx="1742400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1" name="Google Shape;381;p93"/>
          <p:cNvSpPr/>
          <p:nvPr/>
        </p:nvSpPr>
        <p:spPr>
          <a:xfrm>
            <a:off x="3480000" y="1527"/>
            <a:ext cx="1742400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2" name="Google Shape;382;p93"/>
          <p:cNvSpPr/>
          <p:nvPr/>
        </p:nvSpPr>
        <p:spPr>
          <a:xfrm>
            <a:off x="5222400" y="1527"/>
            <a:ext cx="1742400" cy="7200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3" name="Google Shape;383;p93"/>
          <p:cNvSpPr/>
          <p:nvPr/>
        </p:nvSpPr>
        <p:spPr>
          <a:xfrm rot="10800000">
            <a:off x="6964800" y="1527"/>
            <a:ext cx="1742400" cy="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4" name="Google Shape;384;p93"/>
          <p:cNvSpPr/>
          <p:nvPr/>
        </p:nvSpPr>
        <p:spPr>
          <a:xfrm rot="10800000">
            <a:off x="8707200" y="1527"/>
            <a:ext cx="1742400" cy="7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5" name="Google Shape;385;p93"/>
          <p:cNvSpPr/>
          <p:nvPr/>
        </p:nvSpPr>
        <p:spPr>
          <a:xfrm rot="10800000">
            <a:off x="10449600" y="1527"/>
            <a:ext cx="1742400" cy="72000"/>
          </a:xfrm>
          <a:prstGeom prst="rect">
            <a:avLst/>
          </a:prstGeom>
          <a:solidFill>
            <a:srgbClr val="23914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6" name="Google Shape;386;p93"/>
          <p:cNvSpPr txBox="1">
            <a:spLocks noGrp="1"/>
          </p:cNvSpPr>
          <p:nvPr>
            <p:ph type="ctrTitle"/>
          </p:nvPr>
        </p:nvSpPr>
        <p:spPr>
          <a:xfrm>
            <a:off x="866063" y="3078114"/>
            <a:ext cx="10486149" cy="16470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Trebuchet MS"/>
              <a:buNone/>
              <a:defRPr sz="66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9pPr>
          </a:lstStyle>
          <a:p>
            <a:endParaRPr/>
          </a:p>
        </p:txBody>
      </p:sp>
      <p:sp>
        <p:nvSpPr>
          <p:cNvPr id="387" name="Google Shape;387;p93"/>
          <p:cNvSpPr txBox="1">
            <a:spLocks noGrp="1"/>
          </p:cNvSpPr>
          <p:nvPr>
            <p:ph type="subTitle" idx="1"/>
          </p:nvPr>
        </p:nvSpPr>
        <p:spPr>
          <a:xfrm>
            <a:off x="866063" y="2498713"/>
            <a:ext cx="10486149" cy="5136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700"/>
              <a:buFont typeface="Arial"/>
              <a:buNone/>
              <a:defRPr sz="2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pic>
        <p:nvPicPr>
          <p:cNvPr id="388" name="Google Shape;388;p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10233" y="821572"/>
            <a:ext cx="513678" cy="513678"/>
          </a:xfrm>
          <a:prstGeom prst="rect">
            <a:avLst/>
          </a:prstGeom>
          <a:noFill/>
          <a:ln>
            <a:noFill/>
          </a:ln>
        </p:spPr>
      </p:pic>
      <p:sp>
        <p:nvSpPr>
          <p:cNvPr id="389" name="Google Shape;389;p93"/>
          <p:cNvSpPr txBox="1">
            <a:spLocks noGrp="1"/>
          </p:cNvSpPr>
          <p:nvPr>
            <p:ph type="sldNum" idx="12"/>
          </p:nvPr>
        </p:nvSpPr>
        <p:spPr>
          <a:xfrm>
            <a:off x="11483721" y="5800179"/>
            <a:ext cx="5948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BE"/>
              <a:t>‹#›</a:t>
            </a:fld>
            <a:endParaRPr/>
          </a:p>
        </p:txBody>
      </p:sp>
      <p:sp>
        <p:nvSpPr>
          <p:cNvPr id="390" name="Google Shape;390;p93"/>
          <p:cNvSpPr txBox="1">
            <a:spLocks noGrp="1"/>
          </p:cNvSpPr>
          <p:nvPr>
            <p:ph type="ftr" idx="11"/>
          </p:nvPr>
        </p:nvSpPr>
        <p:spPr>
          <a:xfrm rot="5400000">
            <a:off x="9827347" y="2710269"/>
            <a:ext cx="39012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cxnSp>
        <p:nvCxnSpPr>
          <p:cNvPr id="391" name="Google Shape;391;p93"/>
          <p:cNvCxnSpPr/>
          <p:nvPr/>
        </p:nvCxnSpPr>
        <p:spPr>
          <a:xfrm>
            <a:off x="839791" y="6021388"/>
            <a:ext cx="719705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>
          <p15:clr>
            <a:srgbClr val="FBAE40"/>
          </p15:clr>
        </p15:guide>
        <p15:guide id="2" pos="529">
          <p15:clr>
            <a:srgbClr val="FBAE40"/>
          </p15:clr>
        </p15:guide>
        <p15:guide id="3" pos="7151">
          <p15:clr>
            <a:srgbClr val="FBAE40"/>
          </p15:clr>
        </p15:guide>
        <p15:guide id="4" orient="horz" pos="3793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Light green section + title">
  <p:cSld name="1_Light green section + title">
    <p:bg>
      <p:bgPr>
        <a:solidFill>
          <a:srgbClr val="3CB446"/>
        </a:solidFill>
        <a:effectLst/>
      </p:bgPr>
    </p:bg>
    <p:spTree>
      <p:nvGrpSpPr>
        <p:cNvPr id="1" name="Shape 3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3" name="Google Shape;393;p94"/>
          <p:cNvSpPr/>
          <p:nvPr/>
        </p:nvSpPr>
        <p:spPr>
          <a:xfrm>
            <a:off x="-4800" y="0"/>
            <a:ext cx="17424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4" name="Google Shape;394;p94"/>
          <p:cNvSpPr/>
          <p:nvPr/>
        </p:nvSpPr>
        <p:spPr>
          <a:xfrm>
            <a:off x="1737600" y="0"/>
            <a:ext cx="1742400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5" name="Google Shape;395;p94"/>
          <p:cNvSpPr/>
          <p:nvPr/>
        </p:nvSpPr>
        <p:spPr>
          <a:xfrm>
            <a:off x="3480000" y="1527"/>
            <a:ext cx="1742400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6" name="Google Shape;396;p94"/>
          <p:cNvSpPr/>
          <p:nvPr/>
        </p:nvSpPr>
        <p:spPr>
          <a:xfrm>
            <a:off x="5222400" y="1527"/>
            <a:ext cx="1742400" cy="7200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7" name="Google Shape;397;p94"/>
          <p:cNvSpPr/>
          <p:nvPr/>
        </p:nvSpPr>
        <p:spPr>
          <a:xfrm>
            <a:off x="6964800" y="1527"/>
            <a:ext cx="1742400" cy="72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8" name="Google Shape;398;p94"/>
          <p:cNvSpPr/>
          <p:nvPr/>
        </p:nvSpPr>
        <p:spPr>
          <a:xfrm>
            <a:off x="8707200" y="1527"/>
            <a:ext cx="1742400" cy="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9" name="Google Shape;399;p94"/>
          <p:cNvSpPr/>
          <p:nvPr/>
        </p:nvSpPr>
        <p:spPr>
          <a:xfrm>
            <a:off x="10449600" y="1527"/>
            <a:ext cx="1742400" cy="7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00" name="Google Shape;400;p9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8000" y="288031"/>
            <a:ext cx="495150" cy="495150"/>
          </a:xfrm>
          <a:prstGeom prst="rect">
            <a:avLst/>
          </a:prstGeom>
          <a:noFill/>
          <a:ln>
            <a:noFill/>
          </a:ln>
        </p:spPr>
      </p:pic>
      <p:sp>
        <p:nvSpPr>
          <p:cNvPr id="401" name="Google Shape;401;p94"/>
          <p:cNvSpPr txBox="1">
            <a:spLocks noGrp="1"/>
          </p:cNvSpPr>
          <p:nvPr>
            <p:ph type="ctrTitle"/>
          </p:nvPr>
        </p:nvSpPr>
        <p:spPr>
          <a:xfrm>
            <a:off x="866063" y="3078114"/>
            <a:ext cx="10486149" cy="16470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Trebuchet MS"/>
              <a:buNone/>
              <a:defRPr sz="66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9pPr>
          </a:lstStyle>
          <a:p>
            <a:endParaRPr/>
          </a:p>
        </p:txBody>
      </p:sp>
      <p:sp>
        <p:nvSpPr>
          <p:cNvPr id="402" name="Google Shape;402;p94"/>
          <p:cNvSpPr txBox="1">
            <a:spLocks noGrp="1"/>
          </p:cNvSpPr>
          <p:nvPr>
            <p:ph type="subTitle" idx="1"/>
          </p:nvPr>
        </p:nvSpPr>
        <p:spPr>
          <a:xfrm>
            <a:off x="866063" y="2498713"/>
            <a:ext cx="10486149" cy="5136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700"/>
              <a:buFont typeface="Arial"/>
              <a:buNone/>
              <a:defRPr sz="2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403" name="Google Shape;403;p94"/>
          <p:cNvSpPr txBox="1">
            <a:spLocks noGrp="1"/>
          </p:cNvSpPr>
          <p:nvPr>
            <p:ph type="sldNum" idx="12"/>
          </p:nvPr>
        </p:nvSpPr>
        <p:spPr>
          <a:xfrm>
            <a:off x="11483721" y="5800179"/>
            <a:ext cx="5948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BE"/>
              <a:t>‹#›</a:t>
            </a:fld>
            <a:endParaRPr/>
          </a:p>
        </p:txBody>
      </p:sp>
      <p:sp>
        <p:nvSpPr>
          <p:cNvPr id="404" name="Google Shape;404;p94"/>
          <p:cNvSpPr txBox="1">
            <a:spLocks noGrp="1"/>
          </p:cNvSpPr>
          <p:nvPr>
            <p:ph type="ftr" idx="11"/>
          </p:nvPr>
        </p:nvSpPr>
        <p:spPr>
          <a:xfrm rot="5400000">
            <a:off x="9827347" y="2710269"/>
            <a:ext cx="39012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cxnSp>
        <p:nvCxnSpPr>
          <p:cNvPr id="405" name="Google Shape;405;p94"/>
          <p:cNvCxnSpPr/>
          <p:nvPr/>
        </p:nvCxnSpPr>
        <p:spPr>
          <a:xfrm>
            <a:off x="839791" y="6021388"/>
            <a:ext cx="719705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Green section + title">
  <p:cSld name="2_Green section + title">
    <p:bg>
      <p:bgPr>
        <a:solidFill>
          <a:srgbClr val="23914B"/>
        </a:solidFill>
        <a:effectLst/>
      </p:bgPr>
    </p:bg>
    <p:spTree>
      <p:nvGrpSpPr>
        <p:cNvPr id="1" name="Shape 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7" name="Google Shape;407;p95"/>
          <p:cNvSpPr/>
          <p:nvPr/>
        </p:nvSpPr>
        <p:spPr>
          <a:xfrm>
            <a:off x="-4800" y="0"/>
            <a:ext cx="17424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8" name="Google Shape;408;p95"/>
          <p:cNvSpPr/>
          <p:nvPr/>
        </p:nvSpPr>
        <p:spPr>
          <a:xfrm>
            <a:off x="1737600" y="0"/>
            <a:ext cx="1742400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9" name="Google Shape;409;p95"/>
          <p:cNvSpPr/>
          <p:nvPr/>
        </p:nvSpPr>
        <p:spPr>
          <a:xfrm>
            <a:off x="3480000" y="1527"/>
            <a:ext cx="1742400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0" name="Google Shape;410;p95"/>
          <p:cNvSpPr/>
          <p:nvPr/>
        </p:nvSpPr>
        <p:spPr>
          <a:xfrm>
            <a:off x="5222400" y="1527"/>
            <a:ext cx="1742400" cy="7200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1" name="Google Shape;411;p95"/>
          <p:cNvSpPr/>
          <p:nvPr/>
        </p:nvSpPr>
        <p:spPr>
          <a:xfrm>
            <a:off x="6964800" y="1527"/>
            <a:ext cx="1742400" cy="72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2" name="Google Shape;412;p95"/>
          <p:cNvSpPr/>
          <p:nvPr/>
        </p:nvSpPr>
        <p:spPr>
          <a:xfrm>
            <a:off x="8707200" y="1527"/>
            <a:ext cx="1742400" cy="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3" name="Google Shape;413;p95"/>
          <p:cNvSpPr/>
          <p:nvPr/>
        </p:nvSpPr>
        <p:spPr>
          <a:xfrm>
            <a:off x="10449600" y="1527"/>
            <a:ext cx="1742400" cy="7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14" name="Google Shape;414;p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8000" y="288031"/>
            <a:ext cx="495150" cy="495150"/>
          </a:xfrm>
          <a:prstGeom prst="rect">
            <a:avLst/>
          </a:prstGeom>
          <a:noFill/>
          <a:ln>
            <a:noFill/>
          </a:ln>
        </p:spPr>
      </p:pic>
      <p:sp>
        <p:nvSpPr>
          <p:cNvPr id="415" name="Google Shape;415;p95"/>
          <p:cNvSpPr txBox="1">
            <a:spLocks noGrp="1"/>
          </p:cNvSpPr>
          <p:nvPr>
            <p:ph type="ctrTitle"/>
          </p:nvPr>
        </p:nvSpPr>
        <p:spPr>
          <a:xfrm>
            <a:off x="866063" y="3078114"/>
            <a:ext cx="10486149" cy="16470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Trebuchet MS"/>
              <a:buNone/>
              <a:defRPr sz="66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9pPr>
          </a:lstStyle>
          <a:p>
            <a:endParaRPr/>
          </a:p>
        </p:txBody>
      </p:sp>
      <p:sp>
        <p:nvSpPr>
          <p:cNvPr id="416" name="Google Shape;416;p95"/>
          <p:cNvSpPr txBox="1">
            <a:spLocks noGrp="1"/>
          </p:cNvSpPr>
          <p:nvPr>
            <p:ph type="subTitle" idx="1"/>
          </p:nvPr>
        </p:nvSpPr>
        <p:spPr>
          <a:xfrm>
            <a:off x="866063" y="2498713"/>
            <a:ext cx="10486149" cy="5136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700"/>
              <a:buFont typeface="Arial"/>
              <a:buNone/>
              <a:defRPr sz="2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417" name="Google Shape;417;p95"/>
          <p:cNvSpPr txBox="1">
            <a:spLocks noGrp="1"/>
          </p:cNvSpPr>
          <p:nvPr>
            <p:ph type="sldNum" idx="12"/>
          </p:nvPr>
        </p:nvSpPr>
        <p:spPr>
          <a:xfrm>
            <a:off x="11483721" y="5800179"/>
            <a:ext cx="5948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BE"/>
              <a:t>‹#›</a:t>
            </a:fld>
            <a:endParaRPr/>
          </a:p>
        </p:txBody>
      </p:sp>
      <p:sp>
        <p:nvSpPr>
          <p:cNvPr id="418" name="Google Shape;418;p95"/>
          <p:cNvSpPr txBox="1">
            <a:spLocks noGrp="1"/>
          </p:cNvSpPr>
          <p:nvPr>
            <p:ph type="ftr" idx="11"/>
          </p:nvPr>
        </p:nvSpPr>
        <p:spPr>
          <a:xfrm rot="5400000">
            <a:off x="9827347" y="2710269"/>
            <a:ext cx="39012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cxnSp>
        <p:nvCxnSpPr>
          <p:cNvPr id="419" name="Google Shape;419;p95"/>
          <p:cNvCxnSpPr/>
          <p:nvPr/>
        </p:nvCxnSpPr>
        <p:spPr>
          <a:xfrm>
            <a:off x="839791" y="6021388"/>
            <a:ext cx="719705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Green section + title">
  <p:cSld name="1_Green section + title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1" name="Google Shape;421;p96"/>
          <p:cNvSpPr/>
          <p:nvPr/>
        </p:nvSpPr>
        <p:spPr>
          <a:xfrm>
            <a:off x="-4800" y="0"/>
            <a:ext cx="17424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2" name="Google Shape;422;p96"/>
          <p:cNvSpPr/>
          <p:nvPr/>
        </p:nvSpPr>
        <p:spPr>
          <a:xfrm>
            <a:off x="1737600" y="0"/>
            <a:ext cx="1742400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3" name="Google Shape;423;p96"/>
          <p:cNvSpPr/>
          <p:nvPr/>
        </p:nvSpPr>
        <p:spPr>
          <a:xfrm>
            <a:off x="3480000" y="1527"/>
            <a:ext cx="1742400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4" name="Google Shape;424;p96"/>
          <p:cNvSpPr/>
          <p:nvPr/>
        </p:nvSpPr>
        <p:spPr>
          <a:xfrm>
            <a:off x="5222400" y="1527"/>
            <a:ext cx="1742400" cy="7200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5" name="Google Shape;425;p96"/>
          <p:cNvSpPr/>
          <p:nvPr/>
        </p:nvSpPr>
        <p:spPr>
          <a:xfrm>
            <a:off x="6964800" y="1527"/>
            <a:ext cx="1742400" cy="72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6" name="Google Shape;426;p96"/>
          <p:cNvSpPr/>
          <p:nvPr/>
        </p:nvSpPr>
        <p:spPr>
          <a:xfrm>
            <a:off x="8707200" y="1527"/>
            <a:ext cx="1742400" cy="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7" name="Google Shape;427;p96"/>
          <p:cNvSpPr/>
          <p:nvPr/>
        </p:nvSpPr>
        <p:spPr>
          <a:xfrm>
            <a:off x="10449600" y="1527"/>
            <a:ext cx="1742400" cy="7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28" name="Google Shape;428;p9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88000" y="288031"/>
            <a:ext cx="495150" cy="495150"/>
          </a:xfrm>
          <a:prstGeom prst="rect">
            <a:avLst/>
          </a:prstGeom>
          <a:noFill/>
          <a:ln>
            <a:noFill/>
          </a:ln>
        </p:spPr>
      </p:pic>
      <p:sp>
        <p:nvSpPr>
          <p:cNvPr id="429" name="Google Shape;429;p96"/>
          <p:cNvSpPr txBox="1">
            <a:spLocks noGrp="1"/>
          </p:cNvSpPr>
          <p:nvPr>
            <p:ph type="ctrTitle"/>
          </p:nvPr>
        </p:nvSpPr>
        <p:spPr>
          <a:xfrm>
            <a:off x="866063" y="3078114"/>
            <a:ext cx="10486149" cy="16470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Trebuchet MS"/>
              <a:buNone/>
              <a:defRPr sz="66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9pPr>
          </a:lstStyle>
          <a:p>
            <a:endParaRPr/>
          </a:p>
        </p:txBody>
      </p:sp>
      <p:sp>
        <p:nvSpPr>
          <p:cNvPr id="430" name="Google Shape;430;p96"/>
          <p:cNvSpPr txBox="1">
            <a:spLocks noGrp="1"/>
          </p:cNvSpPr>
          <p:nvPr>
            <p:ph type="subTitle" idx="1"/>
          </p:nvPr>
        </p:nvSpPr>
        <p:spPr>
          <a:xfrm>
            <a:off x="866063" y="2498713"/>
            <a:ext cx="10486149" cy="5136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700"/>
              <a:buFont typeface="Arial"/>
              <a:buNone/>
              <a:defRPr sz="2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431" name="Google Shape;431;p96"/>
          <p:cNvSpPr txBox="1">
            <a:spLocks noGrp="1"/>
          </p:cNvSpPr>
          <p:nvPr>
            <p:ph type="sldNum" idx="12"/>
          </p:nvPr>
        </p:nvSpPr>
        <p:spPr>
          <a:xfrm>
            <a:off x="11483721" y="5800179"/>
            <a:ext cx="5948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BE"/>
              <a:t>‹#›</a:t>
            </a:fld>
            <a:endParaRPr/>
          </a:p>
        </p:txBody>
      </p:sp>
      <p:sp>
        <p:nvSpPr>
          <p:cNvPr id="432" name="Google Shape;432;p96"/>
          <p:cNvSpPr txBox="1">
            <a:spLocks noGrp="1"/>
          </p:cNvSpPr>
          <p:nvPr>
            <p:ph type="ftr" idx="11"/>
          </p:nvPr>
        </p:nvSpPr>
        <p:spPr>
          <a:xfrm rot="5400000">
            <a:off x="9827347" y="2710269"/>
            <a:ext cx="39012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cxnSp>
        <p:nvCxnSpPr>
          <p:cNvPr id="433" name="Google Shape;433;p96"/>
          <p:cNvCxnSpPr/>
          <p:nvPr/>
        </p:nvCxnSpPr>
        <p:spPr>
          <a:xfrm>
            <a:off x="839791" y="6021388"/>
            <a:ext cx="719705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47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+Contenu">
  <p:cSld name="Titre+Contenu">
    <p:spTree>
      <p:nvGrpSpPr>
        <p:cNvPr id="1" name="Shape 4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5" name="Google Shape;435;p97"/>
          <p:cNvSpPr/>
          <p:nvPr/>
        </p:nvSpPr>
        <p:spPr>
          <a:xfrm>
            <a:off x="-4800" y="0"/>
            <a:ext cx="17424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6" name="Google Shape;436;p97"/>
          <p:cNvSpPr/>
          <p:nvPr/>
        </p:nvSpPr>
        <p:spPr>
          <a:xfrm>
            <a:off x="1737600" y="0"/>
            <a:ext cx="1742400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7" name="Google Shape;437;p97"/>
          <p:cNvSpPr/>
          <p:nvPr/>
        </p:nvSpPr>
        <p:spPr>
          <a:xfrm>
            <a:off x="3480000" y="1527"/>
            <a:ext cx="1742400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8" name="Google Shape;438;p97"/>
          <p:cNvSpPr/>
          <p:nvPr/>
        </p:nvSpPr>
        <p:spPr>
          <a:xfrm>
            <a:off x="5222400" y="1527"/>
            <a:ext cx="1742400" cy="7200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9" name="Google Shape;439;p97"/>
          <p:cNvSpPr/>
          <p:nvPr/>
        </p:nvSpPr>
        <p:spPr>
          <a:xfrm rot="10800000">
            <a:off x="6964800" y="1527"/>
            <a:ext cx="1742400" cy="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0" name="Google Shape;440;p97"/>
          <p:cNvSpPr/>
          <p:nvPr/>
        </p:nvSpPr>
        <p:spPr>
          <a:xfrm rot="10800000">
            <a:off x="8707200" y="1527"/>
            <a:ext cx="1742400" cy="7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1" name="Google Shape;441;p97"/>
          <p:cNvSpPr/>
          <p:nvPr/>
        </p:nvSpPr>
        <p:spPr>
          <a:xfrm rot="10800000">
            <a:off x="10449600" y="1527"/>
            <a:ext cx="1742400" cy="72000"/>
          </a:xfrm>
          <a:prstGeom prst="rect">
            <a:avLst/>
          </a:prstGeom>
          <a:solidFill>
            <a:srgbClr val="23914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2" name="Google Shape;442;p97"/>
          <p:cNvSpPr txBox="1">
            <a:spLocks noGrp="1"/>
          </p:cNvSpPr>
          <p:nvPr>
            <p:ph type="body" idx="1"/>
          </p:nvPr>
        </p:nvSpPr>
        <p:spPr>
          <a:xfrm>
            <a:off x="839790" y="2440273"/>
            <a:ext cx="5015152" cy="27363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13875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marR="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71600" marR="0" lvl="2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28800" marR="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286000" marR="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43200" marR="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00400" marR="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657600" marR="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14800" marR="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pic>
        <p:nvPicPr>
          <p:cNvPr id="443" name="Google Shape;443;p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10233" y="821572"/>
            <a:ext cx="513678" cy="513678"/>
          </a:xfrm>
          <a:prstGeom prst="rect">
            <a:avLst/>
          </a:prstGeom>
          <a:noFill/>
          <a:ln>
            <a:noFill/>
          </a:ln>
        </p:spPr>
      </p:pic>
      <p:sp>
        <p:nvSpPr>
          <p:cNvPr id="444" name="Google Shape;444;p97"/>
          <p:cNvSpPr txBox="1">
            <a:spLocks noGrp="1"/>
          </p:cNvSpPr>
          <p:nvPr>
            <p:ph type="body" idx="2"/>
          </p:nvPr>
        </p:nvSpPr>
        <p:spPr>
          <a:xfrm>
            <a:off x="6350574" y="2440273"/>
            <a:ext cx="5015152" cy="27363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13875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marR="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71600" marR="0" lvl="2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28800" marR="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286000" marR="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43200" marR="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00400" marR="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657600" marR="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14800" marR="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445" name="Google Shape;445;p97"/>
          <p:cNvSpPr txBox="1">
            <a:spLocks noGrp="1"/>
          </p:cNvSpPr>
          <p:nvPr>
            <p:ph type="sldNum" idx="12"/>
          </p:nvPr>
        </p:nvSpPr>
        <p:spPr>
          <a:xfrm>
            <a:off x="11483721" y="5800179"/>
            <a:ext cx="5948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BE"/>
              <a:t>‹#›</a:t>
            </a:fld>
            <a:endParaRPr/>
          </a:p>
        </p:txBody>
      </p:sp>
      <p:sp>
        <p:nvSpPr>
          <p:cNvPr id="446" name="Google Shape;446;p97"/>
          <p:cNvSpPr txBox="1">
            <a:spLocks noGrp="1"/>
          </p:cNvSpPr>
          <p:nvPr>
            <p:ph type="ftr" idx="11"/>
          </p:nvPr>
        </p:nvSpPr>
        <p:spPr>
          <a:xfrm rot="5400000">
            <a:off x="9827347" y="2710269"/>
            <a:ext cx="39012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0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447" name="Google Shape;447;p97"/>
          <p:cNvSpPr txBox="1">
            <a:spLocks noGrp="1"/>
          </p:cNvSpPr>
          <p:nvPr>
            <p:ph type="title"/>
          </p:nvPr>
        </p:nvSpPr>
        <p:spPr>
          <a:xfrm>
            <a:off x="839791" y="1556792"/>
            <a:ext cx="10512422" cy="6627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rebuchet MS"/>
              <a:buNone/>
              <a:defRPr sz="28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9pPr>
          </a:lstStyle>
          <a:p>
            <a:endParaRPr/>
          </a:p>
        </p:txBody>
      </p:sp>
      <p:cxnSp>
        <p:nvCxnSpPr>
          <p:cNvPr id="448" name="Google Shape;448;p97"/>
          <p:cNvCxnSpPr/>
          <p:nvPr/>
        </p:nvCxnSpPr>
        <p:spPr>
          <a:xfrm>
            <a:off x="839791" y="6021388"/>
            <a:ext cx="719705" cy="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>
          <p15:clr>
            <a:srgbClr val="FBAE40"/>
          </p15:clr>
        </p15:guide>
        <p15:guide id="2" pos="529">
          <p15:clr>
            <a:srgbClr val="FBAE40"/>
          </p15:clr>
        </p15:guide>
        <p15:guide id="3" pos="7151">
          <p15:clr>
            <a:srgbClr val="FBAE40"/>
          </p15:clr>
        </p15:guide>
        <p15:guide id="4" orient="horz" pos="3793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+ Contenu + Img">
  <p:cSld name="Titre + Contenu + Img">
    <p:spTree>
      <p:nvGrpSpPr>
        <p:cNvPr id="1" name="Shape 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" name="Google Shape;450;p98"/>
          <p:cNvSpPr>
            <a:spLocks noGrp="1"/>
          </p:cNvSpPr>
          <p:nvPr>
            <p:ph type="pic" idx="2"/>
          </p:nvPr>
        </p:nvSpPr>
        <p:spPr>
          <a:xfrm>
            <a:off x="6964363" y="72000"/>
            <a:ext cx="5238750" cy="6784413"/>
          </a:xfrm>
          <a:prstGeom prst="rect">
            <a:avLst/>
          </a:prstGeom>
          <a:noFill/>
          <a:ln>
            <a:noFill/>
          </a:ln>
        </p:spPr>
      </p:sp>
      <p:sp>
        <p:nvSpPr>
          <p:cNvPr id="451" name="Google Shape;451;p98"/>
          <p:cNvSpPr/>
          <p:nvPr/>
        </p:nvSpPr>
        <p:spPr>
          <a:xfrm>
            <a:off x="-4800" y="0"/>
            <a:ext cx="17424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2" name="Google Shape;452;p98"/>
          <p:cNvSpPr/>
          <p:nvPr/>
        </p:nvSpPr>
        <p:spPr>
          <a:xfrm>
            <a:off x="1737600" y="0"/>
            <a:ext cx="1742400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3" name="Google Shape;453;p98"/>
          <p:cNvSpPr/>
          <p:nvPr/>
        </p:nvSpPr>
        <p:spPr>
          <a:xfrm>
            <a:off x="3480000" y="1527"/>
            <a:ext cx="1742400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4" name="Google Shape;454;p98"/>
          <p:cNvSpPr/>
          <p:nvPr/>
        </p:nvSpPr>
        <p:spPr>
          <a:xfrm>
            <a:off x="5222400" y="1527"/>
            <a:ext cx="1742400" cy="7200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5" name="Google Shape;455;p98"/>
          <p:cNvSpPr/>
          <p:nvPr/>
        </p:nvSpPr>
        <p:spPr>
          <a:xfrm rot="10800000">
            <a:off x="6964800" y="1527"/>
            <a:ext cx="1742400" cy="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6" name="Google Shape;456;p98"/>
          <p:cNvSpPr/>
          <p:nvPr/>
        </p:nvSpPr>
        <p:spPr>
          <a:xfrm rot="10800000">
            <a:off x="8707200" y="1527"/>
            <a:ext cx="1742400" cy="7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7" name="Google Shape;457;p98"/>
          <p:cNvSpPr/>
          <p:nvPr/>
        </p:nvSpPr>
        <p:spPr>
          <a:xfrm rot="10800000">
            <a:off x="10449600" y="1527"/>
            <a:ext cx="1742400" cy="72000"/>
          </a:xfrm>
          <a:prstGeom prst="rect">
            <a:avLst/>
          </a:prstGeom>
          <a:solidFill>
            <a:srgbClr val="23914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8" name="Google Shape;458;p98"/>
          <p:cNvSpPr txBox="1">
            <a:spLocks noGrp="1"/>
          </p:cNvSpPr>
          <p:nvPr>
            <p:ph type="body" idx="1"/>
          </p:nvPr>
        </p:nvSpPr>
        <p:spPr>
          <a:xfrm>
            <a:off x="839790" y="2440273"/>
            <a:ext cx="5015152" cy="273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13875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marR="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71600" marR="0" lvl="2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28800" marR="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286000" marR="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43200" marR="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00400" marR="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657600" marR="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14800" marR="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459" name="Google Shape;459;p98"/>
          <p:cNvSpPr txBox="1">
            <a:spLocks noGrp="1"/>
          </p:cNvSpPr>
          <p:nvPr>
            <p:ph type="title"/>
          </p:nvPr>
        </p:nvSpPr>
        <p:spPr>
          <a:xfrm>
            <a:off x="839791" y="1556792"/>
            <a:ext cx="5015152" cy="6627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rebuchet MS"/>
              <a:buNone/>
              <a:defRPr sz="28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9pPr>
          </a:lstStyle>
          <a:p>
            <a:endParaRPr/>
          </a:p>
        </p:txBody>
      </p:sp>
      <p:pic>
        <p:nvPicPr>
          <p:cNvPr id="460" name="Google Shape;460;p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10233" y="821572"/>
            <a:ext cx="513678" cy="513678"/>
          </a:xfrm>
          <a:prstGeom prst="rect">
            <a:avLst/>
          </a:prstGeom>
          <a:noFill/>
          <a:ln>
            <a:noFill/>
          </a:ln>
        </p:spPr>
      </p:pic>
      <p:sp>
        <p:nvSpPr>
          <p:cNvPr id="461" name="Google Shape;461;p98"/>
          <p:cNvSpPr txBox="1">
            <a:spLocks noGrp="1"/>
          </p:cNvSpPr>
          <p:nvPr>
            <p:ph type="sldNum" idx="12"/>
          </p:nvPr>
        </p:nvSpPr>
        <p:spPr>
          <a:xfrm>
            <a:off x="11483721" y="5800179"/>
            <a:ext cx="5948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000" b="1" i="0" u="none" strike="noStrike" cap="none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BE"/>
              <a:t>‹#›</a:t>
            </a:fld>
            <a:endParaRPr/>
          </a:p>
        </p:txBody>
      </p:sp>
      <p:sp>
        <p:nvSpPr>
          <p:cNvPr id="462" name="Google Shape;462;p98"/>
          <p:cNvSpPr txBox="1">
            <a:spLocks noGrp="1"/>
          </p:cNvSpPr>
          <p:nvPr>
            <p:ph type="ftr" idx="11"/>
          </p:nvPr>
        </p:nvSpPr>
        <p:spPr>
          <a:xfrm rot="5400000">
            <a:off x="9827347" y="2710269"/>
            <a:ext cx="39012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cxnSp>
        <p:nvCxnSpPr>
          <p:cNvPr id="463" name="Google Shape;463;p98"/>
          <p:cNvCxnSpPr/>
          <p:nvPr/>
        </p:nvCxnSpPr>
        <p:spPr>
          <a:xfrm>
            <a:off x="839791" y="6021388"/>
            <a:ext cx="719705" cy="0"/>
          </a:xfrm>
          <a:prstGeom prst="straightConnector1">
            <a:avLst/>
          </a:prstGeom>
          <a:noFill/>
          <a:ln w="381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>
          <p15:clr>
            <a:srgbClr val="FBAE40"/>
          </p15:clr>
        </p15:guide>
        <p15:guide id="2" pos="529">
          <p15:clr>
            <a:srgbClr val="FBAE40"/>
          </p15:clr>
        </p15:guide>
        <p15:guide id="3" pos="7151">
          <p15:clr>
            <a:srgbClr val="FBAE40"/>
          </p15:clr>
        </p15:guide>
        <p15:guide id="4" orient="horz" pos="3793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type="blank">
  <p:cSld name="BLANK">
    <p:spTree>
      <p:nvGrpSpPr>
        <p:cNvPr id="1" name="Shape 49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x">
  <p:cSld name="TITLE_AND_BODY"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4" name="Google Shape;494;p75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5" name="Google Shape;495;p75"/>
          <p:cNvSpPr txBox="1">
            <a:spLocks noGrp="1"/>
          </p:cNvSpPr>
          <p:nvPr>
            <p:ph type="subTitle" idx="1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Content" type="obj">
  <p:cSld name="OBJECT">
    <p:spTree>
      <p:nvGrpSpPr>
        <p:cNvPr id="1" name="Shape 4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" name="Google Shape;497;p76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8" name="Google Shape;498;p76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2 Content" type="twoObj">
  <p:cSld name="TWO_OBJECTS">
    <p:spTree>
      <p:nvGrpSpPr>
        <p:cNvPr id="1" name="Shape 4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0" name="Google Shape;500;p77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1" name="Google Shape;501;p77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2" name="Google Shape;502;p77"/>
          <p:cNvSpPr txBox="1">
            <a:spLocks noGrp="1"/>
          </p:cNvSpPr>
          <p:nvPr>
            <p:ph type="body" idx="2"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4" name="Google Shape;504;p78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entered Text" type="objOnly">
  <p:cSld name="OBJECT_ONLY"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6" name="Google Shape;506;p79"/>
          <p:cNvSpPr txBox="1">
            <a:spLocks noGrp="1"/>
          </p:cNvSpPr>
          <p:nvPr>
            <p:ph type="subTitle" idx="1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2 Content and Content" type="twoObjAndObj">
  <p:cSld name="TWO_OBJECTS_AND_OBJECT">
    <p:spTree>
      <p:nvGrpSpPr>
        <p:cNvPr id="1" name="Shape 5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8" name="Google Shape;508;p80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9" name="Google Shape;509;p80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0" name="Google Shape;510;p80"/>
          <p:cNvSpPr txBox="1">
            <a:spLocks noGrp="1"/>
          </p:cNvSpPr>
          <p:nvPr>
            <p:ph type="body" idx="2"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1" name="Google Shape;511;p80"/>
          <p:cNvSpPr txBox="1">
            <a:spLocks noGrp="1"/>
          </p:cNvSpPr>
          <p:nvPr>
            <p:ph type="body" idx="3"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and 2 Content" type="objAndTwoObj">
  <p:cSld name="OBJECT_AND_TWO_OBJECTS">
    <p:spTree>
      <p:nvGrpSpPr>
        <p:cNvPr id="1" name="Shape 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" name="Google Shape;513;p81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" name="Google Shape;514;p81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5" name="Google Shape;515;p81"/>
          <p:cNvSpPr txBox="1">
            <a:spLocks noGrp="1"/>
          </p:cNvSpPr>
          <p:nvPr>
            <p:ph type="body" idx="2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6" name="Google Shape;516;p81"/>
          <p:cNvSpPr txBox="1">
            <a:spLocks noGrp="1"/>
          </p:cNvSpPr>
          <p:nvPr>
            <p:ph type="body" idx="3"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entered Text" type="objOnly">
  <p:cSld name="OBJECT_ONLY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48"/>
          <p:cNvSpPr txBox="1">
            <a:spLocks noGrp="1"/>
          </p:cNvSpPr>
          <p:nvPr>
            <p:ph type="subTitle" idx="1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2 Content over Content" type="twoObjOverTx">
  <p:cSld name="TWO_OBJECTS_OVER_TEXT">
    <p:spTree>
      <p:nvGrpSpPr>
        <p:cNvPr id="1" name="Shape 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Google Shape;518;p82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9" name="Google Shape;519;p82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0" name="Google Shape;520;p82"/>
          <p:cNvSpPr txBox="1">
            <a:spLocks noGrp="1"/>
          </p:cNvSpPr>
          <p:nvPr>
            <p:ph type="body" idx="2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1" name="Google Shape;521;p82"/>
          <p:cNvSpPr txBox="1">
            <a:spLocks noGrp="1"/>
          </p:cNvSpPr>
          <p:nvPr>
            <p:ph type="body" idx="3"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Content over Content" type="objOverTx">
  <p:cSld name="OBJECT_OVER_TEXT">
    <p:spTree>
      <p:nvGrpSpPr>
        <p:cNvPr id="1" name="Shape 5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3" name="Google Shape;523;p83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4" name="Google Shape;524;p83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5" name="Google Shape;525;p83"/>
          <p:cNvSpPr txBox="1">
            <a:spLocks noGrp="1"/>
          </p:cNvSpPr>
          <p:nvPr>
            <p:ph type="body" idx="2"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4 Content" type="fourObj">
  <p:cSld name="FOUR_OBJECTS">
    <p:spTree>
      <p:nvGrpSpPr>
        <p:cNvPr id="1" name="Shape 5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7" name="Google Shape;527;p84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8" name="Google Shape;528;p84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9" name="Google Shape;529;p84"/>
          <p:cNvSpPr txBox="1">
            <a:spLocks noGrp="1"/>
          </p:cNvSpPr>
          <p:nvPr>
            <p:ph type="body" idx="2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0" name="Google Shape;530;p84"/>
          <p:cNvSpPr txBox="1">
            <a:spLocks noGrp="1"/>
          </p:cNvSpPr>
          <p:nvPr>
            <p:ph type="body" idx="3"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1" name="Google Shape;531;p84"/>
          <p:cNvSpPr txBox="1">
            <a:spLocks noGrp="1"/>
          </p:cNvSpPr>
          <p:nvPr>
            <p:ph type="body" idx="4"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6 Content">
  <p:cSld name="Title, 6 Content">
    <p:spTree>
      <p:nvGrpSpPr>
        <p:cNvPr id="1" name="Shape 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" name="Google Shape;533;p85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4" name="Google Shape;534;p85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5" name="Google Shape;535;p85"/>
          <p:cNvSpPr txBox="1">
            <a:spLocks noGrp="1"/>
          </p:cNvSpPr>
          <p:nvPr>
            <p:ph type="body" idx="2"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6" name="Google Shape;536;p85"/>
          <p:cNvSpPr txBox="1">
            <a:spLocks noGrp="1"/>
          </p:cNvSpPr>
          <p:nvPr>
            <p:ph type="body" idx="3"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7" name="Google Shape;537;p85"/>
          <p:cNvSpPr txBox="1">
            <a:spLocks noGrp="1"/>
          </p:cNvSpPr>
          <p:nvPr>
            <p:ph type="body" idx="4"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8" name="Google Shape;538;p85"/>
          <p:cNvSpPr txBox="1">
            <a:spLocks noGrp="1"/>
          </p:cNvSpPr>
          <p:nvPr>
            <p:ph type="body" idx="5"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9" name="Google Shape;539;p85"/>
          <p:cNvSpPr txBox="1">
            <a:spLocks noGrp="1"/>
          </p:cNvSpPr>
          <p:nvPr>
            <p:ph type="body" idx="6"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blackWhite">
          <a:xfrm>
            <a:off x="254950" y="262784"/>
            <a:ext cx="11682101" cy="6332433"/>
          </a:xfrm>
          <a:prstGeom prst="rect">
            <a:avLst/>
          </a:prstGeom>
          <a:solidFill>
            <a:srgbClr val="D24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fr-FR" noProof="0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00995055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256032" y="265176"/>
            <a:ext cx="11683049" cy="6332433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 rtl="0"/>
            <a:endParaRPr lang="fr-FR" sz="1800" noProof="0"/>
          </a:p>
        </p:txBody>
      </p:sp>
      <p:cxnSp>
        <p:nvCxnSpPr>
          <p:cNvPr id="12" name="Connecteur droit 11"/>
          <p:cNvCxnSpPr/>
          <p:nvPr userDrawn="1"/>
        </p:nvCxnSpPr>
        <p:spPr>
          <a:xfrm>
            <a:off x="604434" y="1196392"/>
            <a:ext cx="10983132" cy="0"/>
          </a:xfrm>
          <a:prstGeom prst="line">
            <a:avLst/>
          </a:prstGeom>
          <a:ln w="25400">
            <a:solidFill>
              <a:srgbClr val="D2472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521207" y="448056"/>
            <a:ext cx="6877119" cy="640080"/>
          </a:xfrm>
        </p:spPr>
        <p:txBody>
          <a:bodyPr rtlCol="0" anchor="b" anchorCtr="0">
            <a:normAutofit/>
          </a:bodyPr>
          <a:lstStyle>
            <a:lvl1pPr>
              <a:defRPr sz="2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rtl="0"/>
            <a:r>
              <a:rPr lang="fr-FR" noProof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0" hasCustomPrompt="1"/>
          </p:nvPr>
        </p:nvSpPr>
        <p:spPr>
          <a:xfrm>
            <a:off x="539496" y="1435608"/>
            <a:ext cx="4416552" cy="397764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sz="12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sz="12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sz="12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en-US"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marL="0" lvl="0" indent="0" rtl="0">
              <a:lnSpc>
                <a:spcPct val="150000"/>
              </a:lnSpc>
              <a:spcBef>
                <a:spcPts val="1000"/>
              </a:spcBef>
              <a:spcAft>
                <a:spcPts val="1200"/>
              </a:spcAft>
              <a:buNone/>
            </a:pPr>
            <a:r>
              <a:rPr lang="fr-FR" noProof="0"/>
              <a:t>Modifiez les styles du texte</a:t>
            </a:r>
          </a:p>
          <a:p>
            <a:pPr marL="0" lvl="1" indent="0" rtl="0">
              <a:lnSpc>
                <a:spcPct val="150000"/>
              </a:lnSpc>
              <a:spcBef>
                <a:spcPts val="1000"/>
              </a:spcBef>
              <a:spcAft>
                <a:spcPts val="1200"/>
              </a:spcAft>
              <a:buNone/>
            </a:pPr>
            <a:r>
              <a:rPr lang="fr-FR" noProof="0"/>
              <a:t>Deuxième niveau</a:t>
            </a:r>
          </a:p>
          <a:p>
            <a:pPr marL="0" lvl="2" indent="0" rtl="0">
              <a:lnSpc>
                <a:spcPct val="150000"/>
              </a:lnSpc>
              <a:spcBef>
                <a:spcPts val="1000"/>
              </a:spcBef>
              <a:spcAft>
                <a:spcPts val="1200"/>
              </a:spcAft>
              <a:buNone/>
            </a:pPr>
            <a:r>
              <a:rPr lang="fr-FR" noProof="0"/>
              <a:t>Troisième niveau</a:t>
            </a:r>
          </a:p>
          <a:p>
            <a:pPr marL="0" lvl="3" indent="0" rtl="0">
              <a:lnSpc>
                <a:spcPct val="150000"/>
              </a:lnSpc>
              <a:spcBef>
                <a:spcPts val="1000"/>
              </a:spcBef>
              <a:spcAft>
                <a:spcPts val="1200"/>
              </a:spcAft>
              <a:buNone/>
            </a:pPr>
            <a:r>
              <a:rPr lang="fr-FR" noProof="0"/>
              <a:t>Quatrième niveau</a:t>
            </a:r>
          </a:p>
          <a:p>
            <a:pPr marL="0" lvl="4" indent="0" rtl="0">
              <a:lnSpc>
                <a:spcPct val="150000"/>
              </a:lnSpc>
              <a:spcBef>
                <a:spcPts val="1000"/>
              </a:spcBef>
              <a:spcAft>
                <a:spcPts val="1200"/>
              </a:spcAft>
              <a:buNone/>
            </a:pPr>
            <a:r>
              <a:rPr lang="fr-FR" noProof="0"/>
              <a:t>Cinquième niveau</a:t>
            </a:r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539496" y="6203952"/>
            <a:ext cx="3276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/>
            <a:fld id="{ED73AFFA-A6F2-4B06-B935-9E8D85E79903}" type="datetime1">
              <a:rPr lang="fr-FR" noProof="0" smtClean="0"/>
              <a:t>01/03/2022</a:t>
            </a:fld>
            <a:endParaRPr lang="fr-FR" noProof="0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648200" y="62039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/>
            <a:endParaRPr lang="fr-FR" noProof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371926" y="6203952"/>
            <a:ext cx="3276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/>
            <a:fld id="{9860EDB8-5305-433F-BE41-D7A86D811DB3}" type="slidenum">
              <a:rPr lang="fr-FR" noProof="0" smtClean="0"/>
              <a:pPr rtl="0"/>
              <a:t>‹#›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301148218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254951" y="262784"/>
            <a:ext cx="11683049" cy="6332433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 sz="1800" noProof="0"/>
          </a:p>
        </p:txBody>
      </p:sp>
      <p:sp>
        <p:nvSpPr>
          <p:cNvPr id="10" name="Rectangle 9"/>
          <p:cNvSpPr/>
          <p:nvPr userDrawn="1"/>
        </p:nvSpPr>
        <p:spPr bwMode="blackWhite">
          <a:xfrm>
            <a:off x="254950" y="262784"/>
            <a:ext cx="11682101" cy="2072643"/>
          </a:xfrm>
          <a:prstGeom prst="rect">
            <a:avLst/>
          </a:prstGeom>
          <a:solidFill>
            <a:srgbClr val="D24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21208" y="1536192"/>
            <a:ext cx="6876288" cy="640080"/>
          </a:xfrm>
        </p:spPr>
        <p:txBody>
          <a:bodyPr rtlCol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pPr rtl="0"/>
            <a:r>
              <a:rPr lang="fr-FR" noProof="0"/>
              <a:t>Modifiez le style du titre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3" hasCustomPrompt="1"/>
          </p:nvPr>
        </p:nvSpPr>
        <p:spPr>
          <a:xfrm>
            <a:off x="539496" y="2560320"/>
            <a:ext cx="9445752" cy="397764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>
              <a:def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marL="0" lvl="0" indent="0" rtl="0">
              <a:lnSpc>
                <a:spcPct val="150000"/>
              </a:lnSpc>
              <a:spcBef>
                <a:spcPts val="1000"/>
              </a:spcBef>
              <a:spcAft>
                <a:spcPts val="1200"/>
              </a:spcAft>
              <a:buNone/>
            </a:pPr>
            <a:r>
              <a:rPr lang="fr-FR" noProof="0"/>
              <a:t>Modifiez les styles du texte</a:t>
            </a:r>
          </a:p>
          <a:p>
            <a:pPr marL="0" lvl="1" indent="0" rtl="0">
              <a:lnSpc>
                <a:spcPct val="150000"/>
              </a:lnSpc>
              <a:spcBef>
                <a:spcPts val="1000"/>
              </a:spcBef>
              <a:spcAft>
                <a:spcPts val="1200"/>
              </a:spcAft>
              <a:buNone/>
            </a:pPr>
            <a:r>
              <a:rPr lang="fr-FR" noProof="0"/>
              <a:t>Deuxième niveau</a:t>
            </a:r>
          </a:p>
          <a:p>
            <a:pPr marL="0" lvl="2" indent="0" rtl="0">
              <a:lnSpc>
                <a:spcPct val="150000"/>
              </a:lnSpc>
              <a:spcBef>
                <a:spcPts val="1000"/>
              </a:spcBef>
              <a:spcAft>
                <a:spcPts val="1200"/>
              </a:spcAft>
              <a:buNone/>
            </a:pPr>
            <a:r>
              <a:rPr lang="fr-FR" noProof="0"/>
              <a:t>Troisième niveau</a:t>
            </a:r>
          </a:p>
          <a:p>
            <a:pPr marL="0" lvl="3" indent="0" rtl="0">
              <a:lnSpc>
                <a:spcPct val="150000"/>
              </a:lnSpc>
              <a:spcBef>
                <a:spcPts val="1000"/>
              </a:spcBef>
              <a:spcAft>
                <a:spcPts val="1200"/>
              </a:spcAft>
              <a:buNone/>
            </a:pPr>
            <a:r>
              <a:rPr lang="fr-FR" noProof="0"/>
              <a:t>Quatrième niveau</a:t>
            </a:r>
          </a:p>
          <a:p>
            <a:pPr marL="0" lvl="4" indent="0" rtl="0">
              <a:lnSpc>
                <a:spcPct val="150000"/>
              </a:lnSpc>
              <a:spcBef>
                <a:spcPts val="1000"/>
              </a:spcBef>
              <a:spcAft>
                <a:spcPts val="1200"/>
              </a:spcAft>
              <a:buNone/>
            </a:pPr>
            <a:r>
              <a:rPr lang="fr-FR" noProof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811020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2 Content and Content" type="twoObjAndObj">
  <p:cSld name="TWO_OBJECTS_AND_OBJECT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49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49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" name="Google Shape;55;p49"/>
          <p:cNvSpPr txBox="1">
            <a:spLocks noGrp="1"/>
          </p:cNvSpPr>
          <p:nvPr>
            <p:ph type="body" idx="2"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49"/>
          <p:cNvSpPr txBox="1">
            <a:spLocks noGrp="1"/>
          </p:cNvSpPr>
          <p:nvPr>
            <p:ph type="body" idx="3"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and 2 Content" type="objAndTwoObj">
  <p:cSld name="OBJECT_AND_TWO_OBJECTS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50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50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50"/>
          <p:cNvSpPr txBox="1">
            <a:spLocks noGrp="1"/>
          </p:cNvSpPr>
          <p:nvPr>
            <p:ph type="body" idx="2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50"/>
          <p:cNvSpPr txBox="1">
            <a:spLocks noGrp="1"/>
          </p:cNvSpPr>
          <p:nvPr>
            <p:ph type="body" idx="3"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2 Content over Content" type="twoObjOverTx">
  <p:cSld name="TWO_OBJECTS_OVER_TEXT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51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51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51"/>
          <p:cNvSpPr txBox="1">
            <a:spLocks noGrp="1"/>
          </p:cNvSpPr>
          <p:nvPr>
            <p:ph type="body" idx="2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" name="Google Shape;66;p51"/>
          <p:cNvSpPr txBox="1">
            <a:spLocks noGrp="1"/>
          </p:cNvSpPr>
          <p:nvPr>
            <p:ph type="body" idx="3"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vmlDrawing" Target="../drawings/vmlDrawing2.v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heme" Target="../theme/theme3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7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39.xml"/><Relationship Id="rId16" Type="http://schemas.openxmlformats.org/officeDocument/2006/relationships/vmlDrawing" Target="../drawings/vmlDrawing4.v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47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theme" Target="../theme/theme5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53.xml"/><Relationship Id="rId16" Type="http://schemas.openxmlformats.org/officeDocument/2006/relationships/oleObject" Target="../embeddings/oleObject5.bin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vmlDrawing" Target="../drawings/vmlDrawing5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66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tags" Target="../tags/tag7.xml"/><Relationship Id="rId5" Type="http://schemas.openxmlformats.org/officeDocument/2006/relationships/vmlDrawing" Target="../drawings/vmlDrawing6.vml"/><Relationship Id="rId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77A04CA-BF5A-4F86-97E6-6325510F86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439618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16" imgW="271" imgH="270" progId="TCLayout.ActiveDocument.1">
                  <p:embed/>
                </p:oleObj>
              </mc:Choice>
              <mc:Fallback>
                <p:oleObj name="think-cell Slide" r:id="rId16" imgW="271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30"/>
          <p:cNvSpPr/>
          <p:nvPr/>
        </p:nvSpPr>
        <p:spPr>
          <a:xfrm>
            <a:off x="-4680" y="0"/>
            <a:ext cx="1741680" cy="71280"/>
          </a:xfrm>
          <a:prstGeom prst="rect">
            <a:avLst/>
          </a:prstGeom>
          <a:solidFill>
            <a:srgbClr val="F0323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Google Shape;11;p30"/>
          <p:cNvSpPr/>
          <p:nvPr/>
        </p:nvSpPr>
        <p:spPr>
          <a:xfrm>
            <a:off x="1737720" y="0"/>
            <a:ext cx="1741680" cy="71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12;p30"/>
          <p:cNvSpPr/>
          <p:nvPr/>
        </p:nvSpPr>
        <p:spPr>
          <a:xfrm>
            <a:off x="3480120" y="1440"/>
            <a:ext cx="1741680" cy="7128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Google Shape;13;p30"/>
          <p:cNvSpPr/>
          <p:nvPr/>
        </p:nvSpPr>
        <p:spPr>
          <a:xfrm>
            <a:off x="5222520" y="1440"/>
            <a:ext cx="1741680" cy="7128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" name="Google Shape;14;p30"/>
          <p:cNvSpPr/>
          <p:nvPr/>
        </p:nvSpPr>
        <p:spPr>
          <a:xfrm>
            <a:off x="6964920" y="1440"/>
            <a:ext cx="1741680" cy="7128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15;p30"/>
          <p:cNvSpPr/>
          <p:nvPr/>
        </p:nvSpPr>
        <p:spPr>
          <a:xfrm>
            <a:off x="8707320" y="1440"/>
            <a:ext cx="1741680" cy="712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16;p30"/>
          <p:cNvSpPr/>
          <p:nvPr/>
        </p:nvSpPr>
        <p:spPr>
          <a:xfrm>
            <a:off x="10449720" y="1440"/>
            <a:ext cx="1741680" cy="7128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17;p30"/>
          <p:cNvSpPr/>
          <p:nvPr/>
        </p:nvSpPr>
        <p:spPr>
          <a:xfrm>
            <a:off x="-4680" y="0"/>
            <a:ext cx="1741680" cy="712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8;p30"/>
          <p:cNvSpPr/>
          <p:nvPr/>
        </p:nvSpPr>
        <p:spPr>
          <a:xfrm>
            <a:off x="1737720" y="0"/>
            <a:ext cx="1741680" cy="71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Google Shape;19;p30"/>
          <p:cNvSpPr/>
          <p:nvPr/>
        </p:nvSpPr>
        <p:spPr>
          <a:xfrm>
            <a:off x="3480120" y="1440"/>
            <a:ext cx="1741680" cy="7128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Google Shape;20;p30"/>
          <p:cNvSpPr/>
          <p:nvPr/>
        </p:nvSpPr>
        <p:spPr>
          <a:xfrm>
            <a:off x="5222520" y="1440"/>
            <a:ext cx="1741680" cy="7128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Google Shape;21;p30"/>
          <p:cNvSpPr/>
          <p:nvPr/>
        </p:nvSpPr>
        <p:spPr>
          <a:xfrm rot="10800000">
            <a:off x="6965640" y="1440"/>
            <a:ext cx="1741680" cy="712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30"/>
          <p:cNvSpPr/>
          <p:nvPr/>
        </p:nvSpPr>
        <p:spPr>
          <a:xfrm rot="10800000">
            <a:off x="8708040" y="1440"/>
            <a:ext cx="1741680" cy="7128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" name="Google Shape;23;p30"/>
          <p:cNvSpPr/>
          <p:nvPr/>
        </p:nvSpPr>
        <p:spPr>
          <a:xfrm rot="10800000">
            <a:off x="10450440" y="1440"/>
            <a:ext cx="1741680" cy="71280"/>
          </a:xfrm>
          <a:prstGeom prst="rect">
            <a:avLst/>
          </a:prstGeom>
          <a:solidFill>
            <a:srgbClr val="23914B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" name="Google Shape;24;p30"/>
          <p:cNvSpPr/>
          <p:nvPr/>
        </p:nvSpPr>
        <p:spPr>
          <a:xfrm rot="-5400000">
            <a:off x="-3396960" y="3393720"/>
            <a:ext cx="6857280" cy="712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" name="Google Shape;25;p30"/>
          <p:cNvSpPr/>
          <p:nvPr/>
        </p:nvSpPr>
        <p:spPr>
          <a:xfrm rot="-5400000">
            <a:off x="8727120" y="3393720"/>
            <a:ext cx="6857280" cy="71280"/>
          </a:xfrm>
          <a:prstGeom prst="rect">
            <a:avLst/>
          </a:prstGeom>
          <a:solidFill>
            <a:srgbClr val="23914B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" name="Google Shape;26;p30"/>
          <p:cNvSpPr/>
          <p:nvPr/>
        </p:nvSpPr>
        <p:spPr>
          <a:xfrm>
            <a:off x="-4680" y="6784560"/>
            <a:ext cx="1741680" cy="712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Google Shape;27;p30"/>
          <p:cNvSpPr/>
          <p:nvPr/>
        </p:nvSpPr>
        <p:spPr>
          <a:xfrm>
            <a:off x="1737720" y="6784560"/>
            <a:ext cx="1741680" cy="71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Google Shape;28;p30"/>
          <p:cNvSpPr/>
          <p:nvPr/>
        </p:nvSpPr>
        <p:spPr>
          <a:xfrm>
            <a:off x="3480120" y="6786000"/>
            <a:ext cx="1741680" cy="7128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" name="Google Shape;29;p30"/>
          <p:cNvSpPr/>
          <p:nvPr/>
        </p:nvSpPr>
        <p:spPr>
          <a:xfrm>
            <a:off x="5222520" y="6786000"/>
            <a:ext cx="1741680" cy="7128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30;p30"/>
          <p:cNvSpPr/>
          <p:nvPr/>
        </p:nvSpPr>
        <p:spPr>
          <a:xfrm rot="10800000">
            <a:off x="6965640" y="6786720"/>
            <a:ext cx="1741680" cy="712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31;p30"/>
          <p:cNvSpPr/>
          <p:nvPr/>
        </p:nvSpPr>
        <p:spPr>
          <a:xfrm rot="10800000">
            <a:off x="8708040" y="6786720"/>
            <a:ext cx="1741680" cy="7128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Google Shape;32;p30"/>
          <p:cNvSpPr/>
          <p:nvPr/>
        </p:nvSpPr>
        <p:spPr>
          <a:xfrm rot="10800000">
            <a:off x="10450440" y="6786720"/>
            <a:ext cx="1741680" cy="71280"/>
          </a:xfrm>
          <a:prstGeom prst="rect">
            <a:avLst/>
          </a:prstGeom>
          <a:solidFill>
            <a:srgbClr val="23914B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3" name="Google Shape;33;p30"/>
          <p:cNvPicPr preferRelativeResize="0"/>
          <p:nvPr/>
        </p:nvPicPr>
        <p:blipFill rotWithShape="1">
          <a:blip r:embed="rId18">
            <a:alphaModFix/>
          </a:blip>
          <a:srcRect/>
          <a:stretch/>
        </p:blipFill>
        <p:spPr>
          <a:xfrm>
            <a:off x="597600" y="116640"/>
            <a:ext cx="1699920" cy="1792800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Google Shape;34;p30"/>
          <p:cNvSpPr/>
          <p:nvPr/>
        </p:nvSpPr>
        <p:spPr>
          <a:xfrm>
            <a:off x="839880" y="5157360"/>
            <a:ext cx="10511640" cy="360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12700" cap="flat" cmpd="sng">
            <a:solidFill>
              <a:srgbClr val="0900BD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" name="Google Shape;35;p30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36" name="Google Shape;36;p30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DDDC835-AA8B-4E81-8BAC-2845AE5D15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76462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17" imgW="271" imgH="270" progId="TCLayout.ActiveDocument.1">
                  <p:embed/>
                </p:oleObj>
              </mc:Choice>
              <mc:Fallback>
                <p:oleObj name="think-cell Slide" r:id="rId17" imgW="271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Google Shape;86;p32"/>
          <p:cNvSpPr/>
          <p:nvPr/>
        </p:nvSpPr>
        <p:spPr>
          <a:xfrm>
            <a:off x="-4680" y="0"/>
            <a:ext cx="1741680" cy="71280"/>
          </a:xfrm>
          <a:prstGeom prst="rect">
            <a:avLst/>
          </a:prstGeom>
          <a:solidFill>
            <a:srgbClr val="F0323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7" name="Google Shape;87;p32"/>
          <p:cNvSpPr/>
          <p:nvPr/>
        </p:nvSpPr>
        <p:spPr>
          <a:xfrm>
            <a:off x="1737720" y="0"/>
            <a:ext cx="1741680" cy="71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8" name="Google Shape;88;p32"/>
          <p:cNvSpPr/>
          <p:nvPr/>
        </p:nvSpPr>
        <p:spPr>
          <a:xfrm>
            <a:off x="3480120" y="1440"/>
            <a:ext cx="1741680" cy="7128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9" name="Google Shape;89;p32"/>
          <p:cNvSpPr/>
          <p:nvPr/>
        </p:nvSpPr>
        <p:spPr>
          <a:xfrm>
            <a:off x="5222520" y="1440"/>
            <a:ext cx="1741680" cy="7128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" name="Google Shape;90;p32"/>
          <p:cNvSpPr/>
          <p:nvPr/>
        </p:nvSpPr>
        <p:spPr>
          <a:xfrm>
            <a:off x="6964920" y="1440"/>
            <a:ext cx="1741680" cy="7128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" name="Google Shape;91;p32"/>
          <p:cNvSpPr/>
          <p:nvPr/>
        </p:nvSpPr>
        <p:spPr>
          <a:xfrm>
            <a:off x="8707320" y="1440"/>
            <a:ext cx="1741680" cy="712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2" name="Google Shape;92;p32"/>
          <p:cNvSpPr/>
          <p:nvPr/>
        </p:nvSpPr>
        <p:spPr>
          <a:xfrm>
            <a:off x="10449720" y="1440"/>
            <a:ext cx="1741680" cy="7128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" name="Google Shape;93;p32"/>
          <p:cNvSpPr/>
          <p:nvPr/>
        </p:nvSpPr>
        <p:spPr>
          <a:xfrm>
            <a:off x="5222520" y="72000"/>
            <a:ext cx="6968880" cy="6785280"/>
          </a:xfrm>
          <a:prstGeom prst="rect">
            <a:avLst/>
          </a:prstGeom>
          <a:solidFill>
            <a:srgbClr val="F6FAFA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" name="Google Shape;94;p32"/>
          <p:cNvSpPr/>
          <p:nvPr/>
        </p:nvSpPr>
        <p:spPr>
          <a:xfrm>
            <a:off x="-4680" y="0"/>
            <a:ext cx="1741680" cy="712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" name="Google Shape;95;p32"/>
          <p:cNvSpPr/>
          <p:nvPr/>
        </p:nvSpPr>
        <p:spPr>
          <a:xfrm>
            <a:off x="1737720" y="0"/>
            <a:ext cx="1741680" cy="71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" name="Google Shape;96;p32"/>
          <p:cNvSpPr/>
          <p:nvPr/>
        </p:nvSpPr>
        <p:spPr>
          <a:xfrm>
            <a:off x="3480120" y="1440"/>
            <a:ext cx="1741680" cy="7128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" name="Google Shape;97;p32"/>
          <p:cNvSpPr/>
          <p:nvPr/>
        </p:nvSpPr>
        <p:spPr>
          <a:xfrm>
            <a:off x="5222520" y="1440"/>
            <a:ext cx="1741680" cy="7128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" name="Google Shape;98;p32"/>
          <p:cNvSpPr/>
          <p:nvPr/>
        </p:nvSpPr>
        <p:spPr>
          <a:xfrm rot="10800000">
            <a:off x="6965640" y="1440"/>
            <a:ext cx="1741680" cy="712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" name="Google Shape;99;p32"/>
          <p:cNvSpPr/>
          <p:nvPr/>
        </p:nvSpPr>
        <p:spPr>
          <a:xfrm rot="10800000">
            <a:off x="8708040" y="1440"/>
            <a:ext cx="1741680" cy="7128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Google Shape;100;p32"/>
          <p:cNvSpPr/>
          <p:nvPr/>
        </p:nvSpPr>
        <p:spPr>
          <a:xfrm rot="10800000">
            <a:off x="10450440" y="1440"/>
            <a:ext cx="1741680" cy="71280"/>
          </a:xfrm>
          <a:prstGeom prst="rect">
            <a:avLst/>
          </a:prstGeom>
          <a:solidFill>
            <a:srgbClr val="23914B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1" name="Google Shape;101;p32"/>
          <p:cNvPicPr preferRelativeResize="0"/>
          <p:nvPr/>
        </p:nvPicPr>
        <p:blipFill rotWithShape="1">
          <a:blip r:embed="rId19">
            <a:alphaModFix/>
          </a:blip>
          <a:srcRect/>
          <a:stretch/>
        </p:blipFill>
        <p:spPr>
          <a:xfrm>
            <a:off x="810360" y="821520"/>
            <a:ext cx="513000" cy="513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" name="Google Shape;102;p32"/>
          <p:cNvSpPr/>
          <p:nvPr/>
        </p:nvSpPr>
        <p:spPr>
          <a:xfrm>
            <a:off x="839880" y="6021360"/>
            <a:ext cx="718920" cy="360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38100" cap="flat" cmpd="sng">
            <a:solidFill>
              <a:srgbClr val="0900BD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" name="Google Shape;103;p32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04" name="Google Shape;104;p32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7129B12-A6B1-4A34-9B9F-9DECC3C31A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583512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16" imgW="271" imgH="270" progId="TCLayout.ActiveDocument.1">
                  <p:embed/>
                </p:oleObj>
              </mc:Choice>
              <mc:Fallback>
                <p:oleObj name="think-cell Slide" r:id="rId16" imgW="271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" name="Google Shape;168;p35"/>
          <p:cNvSpPr/>
          <p:nvPr/>
        </p:nvSpPr>
        <p:spPr>
          <a:xfrm>
            <a:off x="-4680" y="0"/>
            <a:ext cx="1741680" cy="71280"/>
          </a:xfrm>
          <a:prstGeom prst="rect">
            <a:avLst/>
          </a:prstGeom>
          <a:solidFill>
            <a:srgbClr val="F0323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9" name="Google Shape;169;p35"/>
          <p:cNvSpPr/>
          <p:nvPr/>
        </p:nvSpPr>
        <p:spPr>
          <a:xfrm>
            <a:off x="1737720" y="0"/>
            <a:ext cx="1741680" cy="71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0" name="Google Shape;170;p35"/>
          <p:cNvSpPr/>
          <p:nvPr/>
        </p:nvSpPr>
        <p:spPr>
          <a:xfrm>
            <a:off x="3480120" y="1440"/>
            <a:ext cx="1741680" cy="7128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1" name="Google Shape;171;p35"/>
          <p:cNvSpPr/>
          <p:nvPr/>
        </p:nvSpPr>
        <p:spPr>
          <a:xfrm>
            <a:off x="5222520" y="1440"/>
            <a:ext cx="1741680" cy="7128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2" name="Google Shape;172;p35"/>
          <p:cNvSpPr/>
          <p:nvPr/>
        </p:nvSpPr>
        <p:spPr>
          <a:xfrm>
            <a:off x="6964920" y="1440"/>
            <a:ext cx="1741680" cy="7128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3" name="Google Shape;173;p35"/>
          <p:cNvSpPr/>
          <p:nvPr/>
        </p:nvSpPr>
        <p:spPr>
          <a:xfrm>
            <a:off x="8707320" y="1440"/>
            <a:ext cx="1741680" cy="712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4" name="Google Shape;174;p35"/>
          <p:cNvSpPr/>
          <p:nvPr/>
        </p:nvSpPr>
        <p:spPr>
          <a:xfrm>
            <a:off x="10449720" y="1440"/>
            <a:ext cx="1741680" cy="7128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5" name="Google Shape;175;p35"/>
          <p:cNvSpPr/>
          <p:nvPr/>
        </p:nvSpPr>
        <p:spPr>
          <a:xfrm>
            <a:off x="-4680" y="0"/>
            <a:ext cx="1741680" cy="712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6" name="Google Shape;176;p35"/>
          <p:cNvSpPr/>
          <p:nvPr/>
        </p:nvSpPr>
        <p:spPr>
          <a:xfrm>
            <a:off x="1737720" y="0"/>
            <a:ext cx="1741680" cy="71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7" name="Google Shape;177;p35"/>
          <p:cNvSpPr/>
          <p:nvPr/>
        </p:nvSpPr>
        <p:spPr>
          <a:xfrm>
            <a:off x="3480120" y="1440"/>
            <a:ext cx="1741680" cy="7128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8" name="Google Shape;178;p35"/>
          <p:cNvSpPr/>
          <p:nvPr/>
        </p:nvSpPr>
        <p:spPr>
          <a:xfrm>
            <a:off x="5222520" y="1440"/>
            <a:ext cx="1741680" cy="7128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9" name="Google Shape;179;p35"/>
          <p:cNvSpPr/>
          <p:nvPr/>
        </p:nvSpPr>
        <p:spPr>
          <a:xfrm rot="10800000">
            <a:off x="6965640" y="1440"/>
            <a:ext cx="1741680" cy="712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0" name="Google Shape;180;p35"/>
          <p:cNvSpPr/>
          <p:nvPr/>
        </p:nvSpPr>
        <p:spPr>
          <a:xfrm rot="10800000">
            <a:off x="8708040" y="1440"/>
            <a:ext cx="1741680" cy="7128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1" name="Google Shape;181;p35"/>
          <p:cNvSpPr/>
          <p:nvPr/>
        </p:nvSpPr>
        <p:spPr>
          <a:xfrm rot="10800000">
            <a:off x="10450440" y="1440"/>
            <a:ext cx="1741680" cy="71280"/>
          </a:xfrm>
          <a:prstGeom prst="rect">
            <a:avLst/>
          </a:prstGeom>
          <a:solidFill>
            <a:srgbClr val="23914B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82" name="Google Shape;182;p35"/>
          <p:cNvPicPr preferRelativeResize="0"/>
          <p:nvPr/>
        </p:nvPicPr>
        <p:blipFill rotWithShape="1">
          <a:blip r:embed="rId18">
            <a:alphaModFix/>
          </a:blip>
          <a:srcRect/>
          <a:stretch/>
        </p:blipFill>
        <p:spPr>
          <a:xfrm>
            <a:off x="810360" y="821520"/>
            <a:ext cx="513000" cy="513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3" name="Google Shape;183;p35"/>
          <p:cNvSpPr/>
          <p:nvPr/>
        </p:nvSpPr>
        <p:spPr>
          <a:xfrm>
            <a:off x="839880" y="6021360"/>
            <a:ext cx="718920" cy="360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38100" cap="flat" cmpd="sng">
            <a:solidFill>
              <a:srgbClr val="0900BD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4" name="Google Shape;184;p35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85" name="Google Shape;185;p35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6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6407CC2-7F11-4E5E-9A0E-6577ACB760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643542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18" imgW="271" imgH="270" progId="TCLayout.ActiveDocument.1">
                  <p:embed/>
                </p:oleObj>
              </mc:Choice>
              <mc:Fallback>
                <p:oleObj name="think-cell Slide" r:id="rId18" imgW="271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9" name="Google Shape;249;p37"/>
          <p:cNvSpPr txBox="1">
            <a:spLocks noGrp="1"/>
          </p:cNvSpPr>
          <p:nvPr>
            <p:ph type="title"/>
          </p:nvPr>
        </p:nvSpPr>
        <p:spPr>
          <a:xfrm>
            <a:off x="2041200" y="968400"/>
            <a:ext cx="79920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Trebuchet MS"/>
              <a:buNone/>
              <a:defRPr sz="3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50" name="Google Shape;250;p37"/>
          <p:cNvSpPr txBox="1">
            <a:spLocks noGrp="1"/>
          </p:cNvSpPr>
          <p:nvPr>
            <p:ph type="body" idx="1"/>
          </p:nvPr>
        </p:nvSpPr>
        <p:spPr>
          <a:xfrm>
            <a:off x="2041200" y="2354400"/>
            <a:ext cx="7992000" cy="3074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1496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3914B"/>
              </a:buClr>
              <a:buSzPts val="1360"/>
              <a:buFont typeface="Merriweather Sans"/>
              <a:buChar char="▶"/>
              <a:defRPr sz="16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marR="0" lvl="1" indent="-29971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CB446"/>
              </a:buClr>
              <a:buSzPts val="1120"/>
              <a:buFont typeface="Merriweather Sans"/>
              <a:buChar char="▶"/>
              <a:defRPr sz="16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71600" marR="0" lvl="2" indent="-2794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7C83C"/>
              </a:buClr>
              <a:buSzPts val="800"/>
              <a:buFont typeface="Merriweather Sans"/>
              <a:buChar char="▶"/>
              <a:defRPr sz="16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⁃"/>
              <a:defRPr sz="16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95959"/>
              </a:buClr>
              <a:buSzPts val="1600"/>
              <a:buFont typeface="Arial"/>
              <a:buChar char="-"/>
              <a:defRPr sz="1600" b="0" i="0" u="none" strike="noStrike" cap="none">
                <a:solidFill>
                  <a:schemeClr val="dk2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1" name="Google Shape;251;p37"/>
          <p:cNvSpPr txBox="1">
            <a:spLocks noGrp="1"/>
          </p:cNvSpPr>
          <p:nvPr>
            <p:ph type="dt" idx="10"/>
          </p:nvPr>
        </p:nvSpPr>
        <p:spPr>
          <a:xfrm>
            <a:off x="838200" y="632637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100" b="1" i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2" name="Google Shape;252;p37"/>
          <p:cNvSpPr txBox="1">
            <a:spLocks noGrp="1"/>
          </p:cNvSpPr>
          <p:nvPr>
            <p:ph type="sldNum" idx="12"/>
          </p:nvPr>
        </p:nvSpPr>
        <p:spPr>
          <a:xfrm>
            <a:off x="11353800" y="6326370"/>
            <a:ext cx="5948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100" b="1" i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r" rtl="0">
              <a:spcBef>
                <a:spcPts val="0"/>
              </a:spcBef>
              <a:buNone/>
              <a:defRPr sz="1100" b="1" i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r" rtl="0">
              <a:spcBef>
                <a:spcPts val="0"/>
              </a:spcBef>
              <a:buNone/>
              <a:defRPr sz="1100" b="1" i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r" rtl="0">
              <a:spcBef>
                <a:spcPts val="0"/>
              </a:spcBef>
              <a:buNone/>
              <a:defRPr sz="1100" b="1" i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r" rtl="0">
              <a:spcBef>
                <a:spcPts val="0"/>
              </a:spcBef>
              <a:buNone/>
              <a:defRPr sz="1100" b="1" i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r" rtl="0">
              <a:spcBef>
                <a:spcPts val="0"/>
              </a:spcBef>
              <a:buNone/>
              <a:defRPr sz="1100" b="1" i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r" rtl="0">
              <a:spcBef>
                <a:spcPts val="0"/>
              </a:spcBef>
              <a:buNone/>
              <a:defRPr sz="1100" b="1" i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r" rtl="0">
              <a:spcBef>
                <a:spcPts val="0"/>
              </a:spcBef>
              <a:buNone/>
              <a:defRPr sz="1100" b="1" i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r" rtl="0">
              <a:spcBef>
                <a:spcPts val="0"/>
              </a:spcBef>
              <a:buNone/>
              <a:defRPr sz="1100" b="1" i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BE"/>
              <a:t>‹#›</a:t>
            </a:fld>
            <a:endParaRPr/>
          </a:p>
        </p:txBody>
      </p:sp>
      <p:sp>
        <p:nvSpPr>
          <p:cNvPr id="253" name="Google Shape;253;p37"/>
          <p:cNvSpPr txBox="1">
            <a:spLocks noGrp="1"/>
          </p:cNvSpPr>
          <p:nvPr>
            <p:ph type="ftr" idx="11"/>
          </p:nvPr>
        </p:nvSpPr>
        <p:spPr>
          <a:xfrm>
            <a:off x="4356862" y="6326370"/>
            <a:ext cx="721847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100" b="1" i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4" name="Google Shape;254;p37"/>
          <p:cNvSpPr/>
          <p:nvPr/>
        </p:nvSpPr>
        <p:spPr>
          <a:xfrm>
            <a:off x="-4800" y="0"/>
            <a:ext cx="17424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5" name="Google Shape;255;p37"/>
          <p:cNvSpPr/>
          <p:nvPr/>
        </p:nvSpPr>
        <p:spPr>
          <a:xfrm>
            <a:off x="1737600" y="0"/>
            <a:ext cx="1742400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6" name="Google Shape;256;p37"/>
          <p:cNvSpPr/>
          <p:nvPr/>
        </p:nvSpPr>
        <p:spPr>
          <a:xfrm>
            <a:off x="3480000" y="1527"/>
            <a:ext cx="1742400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7" name="Google Shape;257;p37"/>
          <p:cNvSpPr/>
          <p:nvPr/>
        </p:nvSpPr>
        <p:spPr>
          <a:xfrm>
            <a:off x="5222400" y="1527"/>
            <a:ext cx="1742400" cy="7200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8" name="Google Shape;258;p37"/>
          <p:cNvSpPr/>
          <p:nvPr/>
        </p:nvSpPr>
        <p:spPr>
          <a:xfrm>
            <a:off x="6964800" y="1527"/>
            <a:ext cx="1742400" cy="72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9" name="Google Shape;259;p37"/>
          <p:cNvSpPr/>
          <p:nvPr/>
        </p:nvSpPr>
        <p:spPr>
          <a:xfrm>
            <a:off x="8707200" y="1527"/>
            <a:ext cx="1742400" cy="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0" name="Google Shape;260;p37"/>
          <p:cNvSpPr/>
          <p:nvPr/>
        </p:nvSpPr>
        <p:spPr>
          <a:xfrm>
            <a:off x="10449600" y="1527"/>
            <a:ext cx="1742400" cy="7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B9F4738-BDA7-4A08-8096-8F768EDE92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953864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16" imgW="271" imgH="270" progId="TCLayout.ActiveDocument.1">
                  <p:embed/>
                </p:oleObj>
              </mc:Choice>
              <mc:Fallback>
                <p:oleObj name="think-cell Slide" r:id="rId16" imgW="271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5" name="Google Shape;465;p42"/>
          <p:cNvSpPr/>
          <p:nvPr/>
        </p:nvSpPr>
        <p:spPr>
          <a:xfrm>
            <a:off x="-4680" y="0"/>
            <a:ext cx="1741680" cy="71280"/>
          </a:xfrm>
          <a:prstGeom prst="rect">
            <a:avLst/>
          </a:prstGeom>
          <a:solidFill>
            <a:srgbClr val="F0323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6" name="Google Shape;466;p42"/>
          <p:cNvSpPr/>
          <p:nvPr/>
        </p:nvSpPr>
        <p:spPr>
          <a:xfrm>
            <a:off x="1737720" y="0"/>
            <a:ext cx="1741680" cy="71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7" name="Google Shape;467;p42"/>
          <p:cNvSpPr/>
          <p:nvPr/>
        </p:nvSpPr>
        <p:spPr>
          <a:xfrm>
            <a:off x="3480120" y="1440"/>
            <a:ext cx="1741680" cy="7128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8" name="Google Shape;468;p42"/>
          <p:cNvSpPr/>
          <p:nvPr/>
        </p:nvSpPr>
        <p:spPr>
          <a:xfrm>
            <a:off x="5222520" y="1440"/>
            <a:ext cx="1741680" cy="7128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9" name="Google Shape;469;p42"/>
          <p:cNvSpPr/>
          <p:nvPr/>
        </p:nvSpPr>
        <p:spPr>
          <a:xfrm>
            <a:off x="6964920" y="1440"/>
            <a:ext cx="1741680" cy="7128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0" name="Google Shape;470;p42"/>
          <p:cNvSpPr/>
          <p:nvPr/>
        </p:nvSpPr>
        <p:spPr>
          <a:xfrm>
            <a:off x="8707320" y="1440"/>
            <a:ext cx="1741680" cy="712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1" name="Google Shape;471;p42"/>
          <p:cNvSpPr/>
          <p:nvPr/>
        </p:nvSpPr>
        <p:spPr>
          <a:xfrm>
            <a:off x="10449720" y="1440"/>
            <a:ext cx="1741680" cy="7128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2" name="Google Shape;472;p42"/>
          <p:cNvSpPr/>
          <p:nvPr/>
        </p:nvSpPr>
        <p:spPr>
          <a:xfrm>
            <a:off x="-4680" y="0"/>
            <a:ext cx="1741680" cy="712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3" name="Google Shape;473;p42"/>
          <p:cNvSpPr/>
          <p:nvPr/>
        </p:nvSpPr>
        <p:spPr>
          <a:xfrm>
            <a:off x="1737720" y="0"/>
            <a:ext cx="1741680" cy="71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4" name="Google Shape;474;p42"/>
          <p:cNvSpPr/>
          <p:nvPr/>
        </p:nvSpPr>
        <p:spPr>
          <a:xfrm>
            <a:off x="3480120" y="1440"/>
            <a:ext cx="1741680" cy="7128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5" name="Google Shape;475;p42"/>
          <p:cNvSpPr/>
          <p:nvPr/>
        </p:nvSpPr>
        <p:spPr>
          <a:xfrm>
            <a:off x="5222520" y="1440"/>
            <a:ext cx="1741680" cy="7128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6" name="Google Shape;476;p42"/>
          <p:cNvSpPr/>
          <p:nvPr/>
        </p:nvSpPr>
        <p:spPr>
          <a:xfrm rot="10800000">
            <a:off x="6965640" y="1440"/>
            <a:ext cx="1741680" cy="712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7" name="Google Shape;477;p42"/>
          <p:cNvSpPr/>
          <p:nvPr/>
        </p:nvSpPr>
        <p:spPr>
          <a:xfrm rot="10800000">
            <a:off x="8708040" y="1440"/>
            <a:ext cx="1741680" cy="7128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8" name="Google Shape;478;p42"/>
          <p:cNvSpPr/>
          <p:nvPr/>
        </p:nvSpPr>
        <p:spPr>
          <a:xfrm rot="10800000">
            <a:off x="10450440" y="1440"/>
            <a:ext cx="1741680" cy="71280"/>
          </a:xfrm>
          <a:prstGeom prst="rect">
            <a:avLst/>
          </a:prstGeom>
          <a:solidFill>
            <a:srgbClr val="23914B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9" name="Google Shape;479;p42"/>
          <p:cNvSpPr/>
          <p:nvPr/>
        </p:nvSpPr>
        <p:spPr>
          <a:xfrm rot="-5400000">
            <a:off x="-3396960" y="3393720"/>
            <a:ext cx="6857280" cy="712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0" name="Google Shape;480;p42"/>
          <p:cNvSpPr/>
          <p:nvPr/>
        </p:nvSpPr>
        <p:spPr>
          <a:xfrm rot="-5400000">
            <a:off x="8727120" y="3393720"/>
            <a:ext cx="6857280" cy="71280"/>
          </a:xfrm>
          <a:prstGeom prst="rect">
            <a:avLst/>
          </a:prstGeom>
          <a:solidFill>
            <a:srgbClr val="23914B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1" name="Google Shape;481;p42"/>
          <p:cNvSpPr/>
          <p:nvPr/>
        </p:nvSpPr>
        <p:spPr>
          <a:xfrm>
            <a:off x="-4680" y="6784560"/>
            <a:ext cx="1741680" cy="712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2" name="Google Shape;482;p42"/>
          <p:cNvSpPr/>
          <p:nvPr/>
        </p:nvSpPr>
        <p:spPr>
          <a:xfrm>
            <a:off x="1737720" y="6784560"/>
            <a:ext cx="1741680" cy="71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3" name="Google Shape;483;p42"/>
          <p:cNvSpPr/>
          <p:nvPr/>
        </p:nvSpPr>
        <p:spPr>
          <a:xfrm>
            <a:off x="3480120" y="6786000"/>
            <a:ext cx="1741680" cy="7128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4" name="Google Shape;484;p42"/>
          <p:cNvSpPr/>
          <p:nvPr/>
        </p:nvSpPr>
        <p:spPr>
          <a:xfrm>
            <a:off x="5222520" y="6786000"/>
            <a:ext cx="1741680" cy="71280"/>
          </a:xfrm>
          <a:prstGeom prst="rect">
            <a:avLst/>
          </a:prstGeom>
          <a:solidFill>
            <a:srgbClr val="FFF20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5" name="Google Shape;485;p42"/>
          <p:cNvSpPr/>
          <p:nvPr/>
        </p:nvSpPr>
        <p:spPr>
          <a:xfrm rot="10800000">
            <a:off x="6965640" y="6786720"/>
            <a:ext cx="1741680" cy="712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6" name="Google Shape;486;p42"/>
          <p:cNvSpPr/>
          <p:nvPr/>
        </p:nvSpPr>
        <p:spPr>
          <a:xfrm rot="10800000">
            <a:off x="8708040" y="6786720"/>
            <a:ext cx="1741680" cy="7128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7" name="Google Shape;487;p42"/>
          <p:cNvSpPr/>
          <p:nvPr/>
        </p:nvSpPr>
        <p:spPr>
          <a:xfrm rot="10800000">
            <a:off x="10450440" y="6786720"/>
            <a:ext cx="1741680" cy="71280"/>
          </a:xfrm>
          <a:prstGeom prst="rect">
            <a:avLst/>
          </a:prstGeom>
          <a:solidFill>
            <a:srgbClr val="23914B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8" name="Google Shape;488;p42"/>
          <p:cNvSpPr/>
          <p:nvPr/>
        </p:nvSpPr>
        <p:spPr>
          <a:xfrm>
            <a:off x="839880" y="5157360"/>
            <a:ext cx="10511640" cy="360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12700" cap="flat" cmpd="sng">
            <a:solidFill>
              <a:srgbClr val="0900BD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89" name="Google Shape;489;p42"/>
          <p:cNvPicPr preferRelativeResize="0"/>
          <p:nvPr/>
        </p:nvPicPr>
        <p:blipFill rotWithShape="1">
          <a:blip r:embed="rId18">
            <a:alphaModFix/>
          </a:blip>
          <a:srcRect/>
          <a:stretch/>
        </p:blipFill>
        <p:spPr>
          <a:xfrm>
            <a:off x="5538240" y="821520"/>
            <a:ext cx="1110240" cy="1110240"/>
          </a:xfrm>
          <a:prstGeom prst="rect">
            <a:avLst/>
          </a:prstGeom>
          <a:noFill/>
          <a:ln>
            <a:noFill/>
          </a:ln>
        </p:spPr>
      </p:pic>
      <p:sp>
        <p:nvSpPr>
          <p:cNvPr id="490" name="Google Shape;490;p42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491" name="Google Shape;491;p42"/>
          <p:cNvSpPr txBox="1">
            <a:spLocks noGrp="1"/>
          </p:cNvSpPr>
          <p:nvPr>
            <p:ph type="body" idx="1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51D6245-A491-40FE-8362-A12D4B0A95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23415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51D6245-A491-40FE-8362-A12D4B0A95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256032" y="265176"/>
            <a:ext cx="11683049" cy="6332433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 rtl="0"/>
            <a:endParaRPr lang="fr-FR" sz="1800" noProof="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521208" y="448056"/>
            <a:ext cx="6876288" cy="64008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pPr rtl="0"/>
            <a:r>
              <a:rPr lang="fr-FR" noProof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539496" y="1435608"/>
            <a:ext cx="4416552" cy="3977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rtl="0"/>
            <a:r>
              <a:rPr lang="fr-FR" noProof="0"/>
              <a:t>Modifiez les styles du texte</a:t>
            </a:r>
          </a:p>
          <a:p>
            <a:pPr lvl="1" rtl="0"/>
            <a:r>
              <a:rPr lang="fr-FR" noProof="0"/>
              <a:t>Deuxième niveau</a:t>
            </a:r>
          </a:p>
          <a:p>
            <a:pPr lvl="2" rtl="0"/>
            <a:r>
              <a:rPr lang="fr-FR" noProof="0"/>
              <a:t>Troisième niveau</a:t>
            </a:r>
          </a:p>
          <a:p>
            <a:pPr lvl="3" rtl="0"/>
            <a:r>
              <a:rPr lang="fr-FR" noProof="0"/>
              <a:t>Quatrième niveau</a:t>
            </a:r>
          </a:p>
          <a:p>
            <a:pPr lvl="4" rtl="0"/>
            <a:r>
              <a:rPr lang="fr-FR" noProof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539496" y="6203952"/>
            <a:ext cx="3276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/>
            <a:fld id="{61B589D6-0A3B-49A2-A2F1-A1288C62EC4C}" type="datetime1">
              <a:rPr lang="fr-FR" noProof="0" smtClean="0"/>
              <a:t>01/03/2022</a:t>
            </a:fld>
            <a:endParaRPr lang="fr-FR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648200" y="62039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/>
            <a:endParaRPr lang="fr-FR" noProof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375904" y="6203952"/>
            <a:ext cx="3276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/>
            <a:fld id="{9860EDB8-5305-433F-BE41-D7A86D811DB3}" type="slidenum">
              <a:rPr lang="fr-FR" noProof="0" smtClean="0"/>
              <a:pPr rtl="0"/>
              <a:t>‹#›</a:t>
            </a:fld>
            <a:endParaRPr lang="fr-FR" noProof="0"/>
          </a:p>
        </p:txBody>
      </p:sp>
      <p:cxnSp>
        <p:nvCxnSpPr>
          <p:cNvPr id="8" name="Connecteur droit 7"/>
          <p:cNvCxnSpPr/>
          <p:nvPr userDrawn="1"/>
        </p:nvCxnSpPr>
        <p:spPr>
          <a:xfrm>
            <a:off x="604434" y="1196392"/>
            <a:ext cx="10983132" cy="0"/>
          </a:xfrm>
          <a:prstGeom prst="line">
            <a:avLst/>
          </a:prstGeom>
          <a:ln w="25400">
            <a:solidFill>
              <a:srgbClr val="D2472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1907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50000"/>
        </a:lnSpc>
        <a:spcBef>
          <a:spcPts val="1000"/>
        </a:spcBef>
        <a:spcAft>
          <a:spcPts val="1200"/>
        </a:spcAft>
        <a:buFontTx/>
        <a:buNone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50000"/>
        </a:lnSpc>
        <a:spcBef>
          <a:spcPts val="1000"/>
        </a:spcBef>
        <a:spcAft>
          <a:spcPts val="1200"/>
        </a:spcAft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50000"/>
        </a:lnSpc>
        <a:spcBef>
          <a:spcPts val="1000"/>
        </a:spcBef>
        <a:spcAft>
          <a:spcPts val="1200"/>
        </a:spcAft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914400" rtl="0" eaLnBrk="1" latinLnBrk="0" hangingPunct="1">
        <a:lnSpc>
          <a:spcPct val="150000"/>
        </a:lnSpc>
        <a:spcBef>
          <a:spcPts val="1000"/>
        </a:spcBef>
        <a:spcAft>
          <a:spcPts val="1200"/>
        </a:spcAft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600200" indent="-228600" algn="l" defTabSz="914400" rtl="0" eaLnBrk="1" latinLnBrk="0" hangingPunct="1">
        <a:lnSpc>
          <a:spcPct val="150000"/>
        </a:lnSpc>
        <a:spcBef>
          <a:spcPts val="1000"/>
        </a:spcBef>
        <a:spcAft>
          <a:spcPts val="1200"/>
        </a:spcAft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057400" indent="-228600" algn="l" defTabSz="914400" rtl="0" eaLnBrk="1" latinLnBrk="0" hangingPunct="1">
        <a:lnSpc>
          <a:spcPct val="150000"/>
        </a:lnSpc>
        <a:spcBef>
          <a:spcPts val="1000"/>
        </a:spcBef>
        <a:spcAft>
          <a:spcPts val="1200"/>
        </a:spcAft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2514600" indent="-228600" algn="l" defTabSz="914400" rtl="0" eaLnBrk="1" latinLnBrk="0" hangingPunct="1">
        <a:lnSpc>
          <a:spcPct val="150000"/>
        </a:lnSpc>
        <a:spcBef>
          <a:spcPts val="1000"/>
        </a:spcBef>
        <a:spcAft>
          <a:spcPts val="1200"/>
        </a:spcAft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2971800" indent="-228600" algn="l" defTabSz="914400" rtl="0" eaLnBrk="1" latinLnBrk="0" hangingPunct="1">
        <a:lnSpc>
          <a:spcPct val="150000"/>
        </a:lnSpc>
        <a:spcBef>
          <a:spcPts val="1000"/>
        </a:spcBef>
        <a:spcAft>
          <a:spcPts val="1200"/>
        </a:spcAft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34290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tags" Target="../tags/tag8.xml"/><Relationship Id="rId16" Type="http://schemas.openxmlformats.org/officeDocument/2006/relationships/image" Target="../media/image17.png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7.bin"/><Relationship Id="rId15" Type="http://schemas.openxmlformats.org/officeDocument/2006/relationships/image" Target="../media/image16.jpeg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3" Type="http://schemas.openxmlformats.org/officeDocument/2006/relationships/slideLayout" Target="../slideLayouts/slideLayout65.xml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65.xml"/><Relationship Id="rId7" Type="http://schemas.openxmlformats.org/officeDocument/2006/relationships/image" Target="../media/image29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11" Type="http://schemas.openxmlformats.org/officeDocument/2006/relationships/image" Target="../media/image33.pn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65.xml"/><Relationship Id="rId7" Type="http://schemas.openxmlformats.org/officeDocument/2006/relationships/image" Target="../media/image3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3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hyperlink" Target="https://renov-roue-rad.brussels/le-projet-renolab/mobilisation-et-communication/" TargetMode="Externa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jp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5.xml"/><Relationship Id="rId6" Type="http://schemas.openxmlformats.org/officeDocument/2006/relationships/image" Target="../media/image40.JPG"/><Relationship Id="rId5" Type="http://schemas.openxmlformats.org/officeDocument/2006/relationships/image" Target="../media/image39.JPG"/><Relationship Id="rId4" Type="http://schemas.openxmlformats.org/officeDocument/2006/relationships/image" Target="../media/image3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5.xml"/><Relationship Id="rId4" Type="http://schemas.openxmlformats.org/officeDocument/2006/relationships/image" Target="../media/image44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2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2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3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9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3.xml"/><Relationship Id="rId5" Type="http://schemas.openxmlformats.org/officeDocument/2006/relationships/hyperlink" Target="mailto:renov.roue.rad@gmail.com" TargetMode="External"/><Relationship Id="rId4" Type="http://schemas.openxmlformats.org/officeDocument/2006/relationships/hyperlink" Target="http://www.renov-roue-rad.brussels/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renov-roue-rad.brussels/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7" Type="http://schemas.openxmlformats.org/officeDocument/2006/relationships/image" Target="../media/image54.jp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53.jpg"/><Relationship Id="rId5" Type="http://schemas.openxmlformats.org/officeDocument/2006/relationships/image" Target="../media/image52.jpg"/><Relationship Id="rId4" Type="http://schemas.openxmlformats.org/officeDocument/2006/relationships/image" Target="../media/image51.jp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E5388F4-FCA3-423B-86D8-9EA1916DB53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2489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5" imgW="271" imgH="270" progId="TCLayout.ActiveDocument.1">
                  <p:embed/>
                </p:oleObj>
              </mc:Choice>
              <mc:Fallback>
                <p:oleObj name="think-cell Slide" r:id="rId5" imgW="271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4" name="Google Shape;544;p1"/>
          <p:cNvSpPr/>
          <p:nvPr/>
        </p:nvSpPr>
        <p:spPr>
          <a:xfrm>
            <a:off x="819025" y="2493000"/>
            <a:ext cx="10485360" cy="1214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80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Rénovation collective</a:t>
            </a:r>
            <a:endParaRPr sz="80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5" name="Google Shape;545;p1"/>
          <p:cNvSpPr/>
          <p:nvPr/>
        </p:nvSpPr>
        <p:spPr>
          <a:xfrm>
            <a:off x="866160" y="3550362"/>
            <a:ext cx="10485360" cy="76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rmAutofit/>
          </a:bodyPr>
          <a:lstStyle/>
          <a:p>
            <a:pPr marL="228600" marR="0" lvl="0" indent="-22788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259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Initiative citoyenne pilote dans le quartier La Roue - Anderlecht</a:t>
            </a:r>
            <a:endParaRPr sz="259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46" name="Google Shape;546;p1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7901909" y="90250"/>
            <a:ext cx="2373840" cy="1276560"/>
          </a:xfrm>
          <a:prstGeom prst="rect">
            <a:avLst/>
          </a:prstGeom>
          <a:noFill/>
          <a:ln>
            <a:noFill/>
          </a:ln>
        </p:spPr>
      </p:pic>
      <p:pic>
        <p:nvPicPr>
          <p:cNvPr id="549" name="Google Shape;549;p1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0275749" y="119892"/>
            <a:ext cx="1703160" cy="1063800"/>
          </a:xfrm>
          <a:prstGeom prst="rect">
            <a:avLst/>
          </a:prstGeom>
          <a:noFill/>
          <a:ln>
            <a:noFill/>
          </a:ln>
        </p:spPr>
      </p:pic>
      <p:sp>
        <p:nvSpPr>
          <p:cNvPr id="550" name="Google Shape;550;p1"/>
          <p:cNvSpPr txBox="1"/>
          <p:nvPr/>
        </p:nvSpPr>
        <p:spPr>
          <a:xfrm>
            <a:off x="866160" y="4054869"/>
            <a:ext cx="11325840" cy="6381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840" marR="0" lvl="0" indent="-2854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0B596"/>
              </a:buClr>
              <a:buSzPts val="1600"/>
              <a:buFont typeface="Arial"/>
              <a:buChar char="•"/>
            </a:pPr>
            <a:r>
              <a:rPr lang="fr-BE" sz="1600" b="0" strike="noStrike">
                <a:solidFill>
                  <a:srgbClr val="00264D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déclencher une dynamique de rénovation énergétique permettant d’atteindre le rythme requis par la transition climat </a:t>
            </a:r>
            <a:endParaRPr sz="16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840" marR="0" lvl="0" indent="-285480" algn="l" rtl="0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>
                <a:srgbClr val="10B596"/>
              </a:buClr>
              <a:buSzPts val="1600"/>
              <a:buFont typeface="Arial"/>
              <a:buChar char="•"/>
            </a:pPr>
            <a:r>
              <a:rPr lang="fr-BE" sz="1600" b="0" strike="noStrike">
                <a:solidFill>
                  <a:srgbClr val="00264D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en offrant de multiples bénéfices économiques, environnementaux et sociaux</a:t>
            </a: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E201BD3-8659-4693-9DE8-912C1A55A96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8509" y="5370924"/>
            <a:ext cx="829119" cy="833712"/>
          </a:xfrm>
          <a:prstGeom prst="rect">
            <a:avLst/>
          </a:prstGeom>
        </p:spPr>
      </p:pic>
      <p:pic>
        <p:nvPicPr>
          <p:cNvPr id="1028" name="Picture 4" descr="KS architectes">
            <a:extLst>
              <a:ext uri="{FF2B5EF4-FFF2-40B4-BE49-F238E27FC236}">
                <a16:creationId xmlns:a16="http://schemas.microsoft.com/office/drawing/2014/main" id="{81FD8991-31E4-4AAD-BE9C-FE5D080130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3689" y="5237121"/>
            <a:ext cx="1059541" cy="1059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Habitat et Participation – ASBL">
            <a:extLst>
              <a:ext uri="{FF2B5EF4-FFF2-40B4-BE49-F238E27FC236}">
                <a16:creationId xmlns:a16="http://schemas.microsoft.com/office/drawing/2014/main" id="{66C4A601-1C82-459B-8573-C13C0C96EC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4053" y="5879341"/>
            <a:ext cx="1418212" cy="834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Brouae architecture &amp;amp; énergies - Home | Facebook">
            <a:extLst>
              <a:ext uri="{FF2B5EF4-FFF2-40B4-BE49-F238E27FC236}">
                <a16:creationId xmlns:a16="http://schemas.microsoft.com/office/drawing/2014/main" id="{AB1DAB20-56B3-42ED-A86F-B03ABB8A9F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73" b="30137"/>
          <a:stretch/>
        </p:blipFill>
        <p:spPr bwMode="auto">
          <a:xfrm>
            <a:off x="3225842" y="5775214"/>
            <a:ext cx="2143125" cy="957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La banque Triodos réduit à 0% le taux d&amp;#39;intérêt sur son compte d&amp;#39;épargne -  Guide-Epargne.be">
            <a:extLst>
              <a:ext uri="{FF2B5EF4-FFF2-40B4-BE49-F238E27FC236}">
                <a16:creationId xmlns:a16="http://schemas.microsoft.com/office/drawing/2014/main" id="{B9CBC055-A36E-4BA9-A415-59663E95E6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1263" y="5187274"/>
            <a:ext cx="1626240" cy="1084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B6D70C0-F185-47EF-9092-374A06012C86}"/>
              </a:ext>
            </a:extLst>
          </p:cNvPr>
          <p:cNvSpPr txBox="1"/>
          <p:nvPr/>
        </p:nvSpPr>
        <p:spPr>
          <a:xfrm>
            <a:off x="5621441" y="6237325"/>
            <a:ext cx="1117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rgbClr val="002060"/>
                </a:solidFill>
              </a:rPr>
              <a:t>Résolia</a:t>
            </a:r>
          </a:p>
        </p:txBody>
      </p:sp>
      <p:pic>
        <p:nvPicPr>
          <p:cNvPr id="1034" name="Picture 10" descr="Un·e académique en Sciences de la Communication | SFSIC">
            <a:extLst>
              <a:ext uri="{FF2B5EF4-FFF2-40B4-BE49-F238E27FC236}">
                <a16:creationId xmlns:a16="http://schemas.microsoft.com/office/drawing/2014/main" id="{5A066D8B-D783-46E8-BE8C-6EE2998531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2448" y="5205248"/>
            <a:ext cx="1392780" cy="1114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Wooclap&amp;#39;s case : The Université Libre de Bruxelles chooses the Wooclap  solution">
            <a:extLst>
              <a:ext uri="{FF2B5EF4-FFF2-40B4-BE49-F238E27FC236}">
                <a16:creationId xmlns:a16="http://schemas.microsoft.com/office/drawing/2014/main" id="{B2877033-BF7A-4E03-AEE5-FFAC0250D8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2291" y="5951029"/>
            <a:ext cx="1242682" cy="686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LAB 705 / architecture, urbanisme et territoire - Community | Facebook">
            <a:extLst>
              <a:ext uri="{FF2B5EF4-FFF2-40B4-BE49-F238E27FC236}">
                <a16:creationId xmlns:a16="http://schemas.microsoft.com/office/drawing/2014/main" id="{A885837E-F049-4342-95D7-191F192BA4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4820" y="5370924"/>
            <a:ext cx="734473" cy="731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Climact">
            <a:extLst>
              <a:ext uri="{FF2B5EF4-FFF2-40B4-BE49-F238E27FC236}">
                <a16:creationId xmlns:a16="http://schemas.microsoft.com/office/drawing/2014/main" id="{49E071C1-3DAB-41F5-86FD-8A47385FD2F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16" t="40874" r="9916" b="40874"/>
          <a:stretch/>
        </p:blipFill>
        <p:spPr bwMode="auto">
          <a:xfrm>
            <a:off x="9336413" y="6114303"/>
            <a:ext cx="1909118" cy="446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1D14C42-158B-48B8-B9EF-334A1E868681}"/>
              </a:ext>
            </a:extLst>
          </p:cNvPr>
          <p:cNvPicPr>
            <a:picLocks noChangeAspect="1"/>
          </p:cNvPicPr>
          <p:nvPr/>
        </p:nvPicPr>
        <p:blipFill rotWithShape="1">
          <a:blip r:embed="rId18"/>
          <a:srcRect t="6468"/>
          <a:stretch/>
        </p:blipFill>
        <p:spPr>
          <a:xfrm>
            <a:off x="9999489" y="5581650"/>
            <a:ext cx="1849360" cy="336814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2" name="Google Shape;632;p9"/>
          <p:cNvSpPr txBox="1">
            <a:spLocks noGrp="1"/>
          </p:cNvSpPr>
          <p:nvPr>
            <p:ph type="title"/>
          </p:nvPr>
        </p:nvSpPr>
        <p:spPr>
          <a:xfrm>
            <a:off x="839791" y="2084822"/>
            <a:ext cx="3960065" cy="323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rebuchet MS"/>
              <a:buNone/>
            </a:pPr>
            <a:r>
              <a:rPr lang="fr-BE" sz="4400"/>
              <a:t>Déclencher une première vague de rénovation</a:t>
            </a:r>
            <a:endParaRPr/>
          </a:p>
        </p:txBody>
      </p:sp>
      <p:cxnSp>
        <p:nvCxnSpPr>
          <p:cNvPr id="633" name="Google Shape;633;p9"/>
          <p:cNvCxnSpPr/>
          <p:nvPr/>
        </p:nvCxnSpPr>
        <p:spPr>
          <a:xfrm>
            <a:off x="8423998" y="527901"/>
            <a:ext cx="0" cy="5797485"/>
          </a:xfrm>
          <a:prstGeom prst="straightConnector1">
            <a:avLst/>
          </a:prstGeom>
          <a:noFill/>
          <a:ln w="9525" cap="flat" cmpd="sng">
            <a:solidFill>
              <a:srgbClr val="EE2B2B"/>
            </a:solidFill>
            <a:prstDash val="solid"/>
            <a:miter lim="8000"/>
            <a:headEnd type="none" w="sm" len="sm"/>
            <a:tailEnd type="none" w="sm" len="sm"/>
          </a:ln>
        </p:spPr>
      </p:cxnSp>
      <p:sp>
        <p:nvSpPr>
          <p:cNvPr id="634" name="Google Shape;634;p9"/>
          <p:cNvSpPr/>
          <p:nvPr/>
        </p:nvSpPr>
        <p:spPr>
          <a:xfrm>
            <a:off x="8401139" y="798375"/>
            <a:ext cx="45719" cy="45719"/>
          </a:xfrm>
          <a:prstGeom prst="ellipse">
            <a:avLst/>
          </a:prstGeom>
          <a:solidFill>
            <a:schemeClr val="accent1"/>
          </a:solidFill>
          <a:ln w="25400" cap="flat" cmpd="sng">
            <a:solidFill>
              <a:srgbClr val="AF2424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5" name="Google Shape;635;p9"/>
          <p:cNvSpPr txBox="1"/>
          <p:nvPr/>
        </p:nvSpPr>
        <p:spPr>
          <a:xfrm>
            <a:off x="7258202" y="682734"/>
            <a:ext cx="110479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1">
                <a:solidFill>
                  <a:schemeClr val="bg1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Janvier 2022</a:t>
            </a:r>
            <a:endParaRPr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36" name="Google Shape;636;p9"/>
          <p:cNvSpPr txBox="1"/>
          <p:nvPr/>
        </p:nvSpPr>
        <p:spPr>
          <a:xfrm>
            <a:off x="8735144" y="502917"/>
            <a:ext cx="3288080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 dirty="0">
                <a:solidFill>
                  <a:schemeClr val="bg1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Démarrage du projet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 dirty="0">
                <a:solidFill>
                  <a:schemeClr val="bg1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avec l’équipe multidisciplinaire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637" name="Google Shape;637;p9"/>
          <p:cNvCxnSpPr>
            <a:stCxn id="634" idx="6"/>
          </p:cNvCxnSpPr>
          <p:nvPr/>
        </p:nvCxnSpPr>
        <p:spPr>
          <a:xfrm>
            <a:off x="8446858" y="821234"/>
            <a:ext cx="288300" cy="0"/>
          </a:xfrm>
          <a:prstGeom prst="straightConnector1">
            <a:avLst/>
          </a:prstGeom>
          <a:noFill/>
          <a:ln w="9525" cap="flat" cmpd="sng">
            <a:solidFill>
              <a:srgbClr val="EE2B2B"/>
            </a:solidFill>
            <a:prstDash val="solid"/>
            <a:miter lim="8000"/>
            <a:headEnd type="none" w="sm" len="sm"/>
            <a:tailEnd type="none" w="sm" len="sm"/>
          </a:ln>
        </p:spPr>
      </p:cxnSp>
      <p:sp>
        <p:nvSpPr>
          <p:cNvPr id="638" name="Google Shape;638;p9"/>
          <p:cNvSpPr/>
          <p:nvPr/>
        </p:nvSpPr>
        <p:spPr>
          <a:xfrm>
            <a:off x="8401139" y="1454659"/>
            <a:ext cx="45719" cy="45719"/>
          </a:xfrm>
          <a:prstGeom prst="ellipse">
            <a:avLst/>
          </a:prstGeom>
          <a:solidFill>
            <a:schemeClr val="accent1"/>
          </a:solidFill>
          <a:ln w="25400" cap="flat" cmpd="sng">
            <a:solidFill>
              <a:srgbClr val="AF2424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9" name="Google Shape;639;p9"/>
          <p:cNvSpPr txBox="1"/>
          <p:nvPr/>
        </p:nvSpPr>
        <p:spPr>
          <a:xfrm>
            <a:off x="5428605" y="1015853"/>
            <a:ext cx="2672526" cy="923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 dirty="0">
                <a:solidFill>
                  <a:schemeClr val="bg1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Scénarios de rénovation</a:t>
            </a:r>
            <a:br>
              <a:rPr lang="fr-BE" sz="1800" dirty="0">
                <a:solidFill>
                  <a:schemeClr val="bg1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fr-BE" sz="1800" dirty="0">
                <a:solidFill>
                  <a:schemeClr val="bg1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pour une sélection </a:t>
            </a:r>
            <a:br>
              <a:rPr lang="fr-BE" sz="1800" dirty="0">
                <a:solidFill>
                  <a:schemeClr val="bg1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fr-BE" sz="1800" dirty="0">
                <a:solidFill>
                  <a:schemeClr val="bg1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de maisons types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40" name="Google Shape;640;p9"/>
          <p:cNvSpPr txBox="1"/>
          <p:nvPr/>
        </p:nvSpPr>
        <p:spPr>
          <a:xfrm>
            <a:off x="8877858" y="1809569"/>
            <a:ext cx="3168496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r">
              <a:buNone/>
              <a:defRPr sz="1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BE" dirty="0"/>
              <a:t>Workshop de co-construction</a:t>
            </a:r>
            <a:endParaRPr dirty="0"/>
          </a:p>
          <a:p>
            <a:r>
              <a:rPr lang="fr-BE" dirty="0"/>
              <a:t>Urban, Commune, BMA, …</a:t>
            </a:r>
            <a:endParaRPr dirty="0"/>
          </a:p>
        </p:txBody>
      </p:sp>
      <p:cxnSp>
        <p:nvCxnSpPr>
          <p:cNvPr id="641" name="Google Shape;641;p9"/>
          <p:cNvCxnSpPr>
            <a:stCxn id="638" idx="6"/>
            <a:endCxn id="639" idx="3"/>
          </p:cNvCxnSpPr>
          <p:nvPr/>
        </p:nvCxnSpPr>
        <p:spPr>
          <a:xfrm rot="10800000">
            <a:off x="8101258" y="1477519"/>
            <a:ext cx="345600" cy="0"/>
          </a:xfrm>
          <a:prstGeom prst="straightConnector1">
            <a:avLst/>
          </a:prstGeom>
          <a:noFill/>
          <a:ln w="9525" cap="flat" cmpd="sng">
            <a:solidFill>
              <a:srgbClr val="EE2B2B"/>
            </a:solidFill>
            <a:prstDash val="solid"/>
            <a:miter lim="8000"/>
            <a:headEnd type="none" w="sm" len="sm"/>
            <a:tailEnd type="none" w="sm" len="sm"/>
          </a:ln>
        </p:spPr>
      </p:cxnSp>
      <p:sp>
        <p:nvSpPr>
          <p:cNvPr id="642" name="Google Shape;642;p9"/>
          <p:cNvSpPr/>
          <p:nvPr/>
        </p:nvSpPr>
        <p:spPr>
          <a:xfrm>
            <a:off x="8401139" y="2120962"/>
            <a:ext cx="45719" cy="45719"/>
          </a:xfrm>
          <a:prstGeom prst="ellipse">
            <a:avLst/>
          </a:prstGeom>
          <a:solidFill>
            <a:schemeClr val="accent1"/>
          </a:solidFill>
          <a:ln w="25400" cap="flat" cmpd="sng">
            <a:solidFill>
              <a:srgbClr val="AF2424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3" name="Google Shape;643;p9"/>
          <p:cNvCxnSpPr/>
          <p:nvPr/>
        </p:nvCxnSpPr>
        <p:spPr>
          <a:xfrm rot="10800000">
            <a:off x="8408709" y="2138054"/>
            <a:ext cx="353297" cy="1"/>
          </a:xfrm>
          <a:prstGeom prst="straightConnector1">
            <a:avLst/>
          </a:prstGeom>
          <a:noFill/>
          <a:ln w="9525" cap="flat" cmpd="sng">
            <a:solidFill>
              <a:srgbClr val="EE2B2B"/>
            </a:solidFill>
            <a:prstDash val="solid"/>
            <a:miter lim="8000"/>
            <a:headEnd type="none" w="sm" len="sm"/>
            <a:tailEnd type="none" w="sm" len="sm"/>
          </a:ln>
        </p:spPr>
      </p:cxnSp>
      <p:sp>
        <p:nvSpPr>
          <p:cNvPr id="644" name="Google Shape;644;p9"/>
          <p:cNvSpPr/>
          <p:nvPr/>
        </p:nvSpPr>
        <p:spPr>
          <a:xfrm>
            <a:off x="8401139" y="2704354"/>
            <a:ext cx="45719" cy="45719"/>
          </a:xfrm>
          <a:prstGeom prst="ellipse">
            <a:avLst/>
          </a:prstGeom>
          <a:solidFill>
            <a:schemeClr val="accent1"/>
          </a:solidFill>
          <a:ln w="25400" cap="flat" cmpd="sng">
            <a:solidFill>
              <a:srgbClr val="AF2424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5" name="Google Shape;645;p9"/>
          <p:cNvSpPr txBox="1"/>
          <p:nvPr/>
        </p:nvSpPr>
        <p:spPr>
          <a:xfrm>
            <a:off x="5120827" y="2514519"/>
            <a:ext cx="2980304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éparation des préprojets</a:t>
            </a:r>
            <a:endParaRPr/>
          </a:p>
        </p:txBody>
      </p:sp>
      <p:cxnSp>
        <p:nvCxnSpPr>
          <p:cNvPr id="646" name="Google Shape;646;p9"/>
          <p:cNvCxnSpPr>
            <a:endCxn id="644" idx="6"/>
          </p:cNvCxnSpPr>
          <p:nvPr/>
        </p:nvCxnSpPr>
        <p:spPr>
          <a:xfrm>
            <a:off x="8124058" y="2727214"/>
            <a:ext cx="322800" cy="0"/>
          </a:xfrm>
          <a:prstGeom prst="straightConnector1">
            <a:avLst/>
          </a:prstGeom>
          <a:noFill/>
          <a:ln w="9525" cap="flat" cmpd="sng">
            <a:solidFill>
              <a:srgbClr val="EE2B2B"/>
            </a:solidFill>
            <a:prstDash val="solid"/>
            <a:miter lim="8000"/>
            <a:headEnd type="none" w="sm" len="sm"/>
            <a:tailEnd type="none" w="sm" len="sm"/>
          </a:ln>
        </p:spPr>
      </p:cxnSp>
      <p:sp>
        <p:nvSpPr>
          <p:cNvPr id="647" name="Google Shape;647;p9"/>
          <p:cNvSpPr txBox="1"/>
          <p:nvPr/>
        </p:nvSpPr>
        <p:spPr>
          <a:xfrm>
            <a:off x="8877858" y="3023719"/>
            <a:ext cx="3172663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arification des coûts et </a:t>
            </a:r>
            <a:b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s solutions de financement</a:t>
            </a:r>
            <a:endParaRPr/>
          </a:p>
        </p:txBody>
      </p:sp>
      <p:sp>
        <p:nvSpPr>
          <p:cNvPr id="648" name="Google Shape;648;p9"/>
          <p:cNvSpPr/>
          <p:nvPr/>
        </p:nvSpPr>
        <p:spPr>
          <a:xfrm>
            <a:off x="8401139" y="3329793"/>
            <a:ext cx="45719" cy="45719"/>
          </a:xfrm>
          <a:prstGeom prst="ellipse">
            <a:avLst/>
          </a:prstGeom>
          <a:solidFill>
            <a:schemeClr val="accent1"/>
          </a:solidFill>
          <a:ln w="25400" cap="flat" cmpd="sng">
            <a:solidFill>
              <a:srgbClr val="AF2424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9" name="Google Shape;649;p9"/>
          <p:cNvCxnSpPr/>
          <p:nvPr/>
        </p:nvCxnSpPr>
        <p:spPr>
          <a:xfrm rot="10800000">
            <a:off x="8408709" y="3346885"/>
            <a:ext cx="353297" cy="1"/>
          </a:xfrm>
          <a:prstGeom prst="straightConnector1">
            <a:avLst/>
          </a:prstGeom>
          <a:noFill/>
          <a:ln w="9525" cap="flat" cmpd="sng">
            <a:solidFill>
              <a:srgbClr val="EE2B2B"/>
            </a:solidFill>
            <a:prstDash val="solid"/>
            <a:miter lim="8000"/>
            <a:headEnd type="none" w="sm" len="sm"/>
            <a:tailEnd type="none" w="sm" len="sm"/>
          </a:ln>
        </p:spPr>
      </p:cxnSp>
      <p:sp>
        <p:nvSpPr>
          <p:cNvPr id="650" name="Google Shape;650;p9"/>
          <p:cNvSpPr/>
          <p:nvPr/>
        </p:nvSpPr>
        <p:spPr>
          <a:xfrm>
            <a:off x="8401139" y="3915006"/>
            <a:ext cx="45719" cy="45719"/>
          </a:xfrm>
          <a:prstGeom prst="ellipse">
            <a:avLst/>
          </a:prstGeom>
          <a:solidFill>
            <a:schemeClr val="accent1"/>
          </a:solidFill>
          <a:ln w="25400" cap="flat" cmpd="sng">
            <a:solidFill>
              <a:srgbClr val="AF2424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1" name="Google Shape;651;p9"/>
          <p:cNvSpPr txBox="1"/>
          <p:nvPr/>
        </p:nvSpPr>
        <p:spPr>
          <a:xfrm>
            <a:off x="5015919" y="3614699"/>
            <a:ext cx="3070072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nfirmation de</a:t>
            </a:r>
            <a:b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articipation de 20 habitants</a:t>
            </a:r>
            <a:endParaRPr/>
          </a:p>
        </p:txBody>
      </p:sp>
      <p:cxnSp>
        <p:nvCxnSpPr>
          <p:cNvPr id="652" name="Google Shape;652;p9"/>
          <p:cNvCxnSpPr>
            <a:stCxn id="650" idx="6"/>
            <a:endCxn id="651" idx="3"/>
          </p:cNvCxnSpPr>
          <p:nvPr/>
        </p:nvCxnSpPr>
        <p:spPr>
          <a:xfrm rot="10800000">
            <a:off x="8085958" y="3937866"/>
            <a:ext cx="360900" cy="0"/>
          </a:xfrm>
          <a:prstGeom prst="straightConnector1">
            <a:avLst/>
          </a:prstGeom>
          <a:noFill/>
          <a:ln w="9525" cap="flat" cmpd="sng">
            <a:solidFill>
              <a:srgbClr val="EE2B2B"/>
            </a:solidFill>
            <a:prstDash val="solid"/>
            <a:miter lim="8000"/>
            <a:headEnd type="none" w="sm" len="sm"/>
            <a:tailEnd type="none" w="sm" len="sm"/>
          </a:ln>
        </p:spPr>
      </p:cxnSp>
      <p:sp>
        <p:nvSpPr>
          <p:cNvPr id="653" name="Google Shape;653;p9"/>
          <p:cNvSpPr txBox="1"/>
          <p:nvPr/>
        </p:nvSpPr>
        <p:spPr>
          <a:xfrm>
            <a:off x="8877858" y="4382584"/>
            <a:ext cx="3044423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mande de permis groupé</a:t>
            </a:r>
            <a:endParaRPr/>
          </a:p>
        </p:txBody>
      </p:sp>
      <p:sp>
        <p:nvSpPr>
          <p:cNvPr id="654" name="Google Shape;654;p9"/>
          <p:cNvSpPr/>
          <p:nvPr/>
        </p:nvSpPr>
        <p:spPr>
          <a:xfrm>
            <a:off x="8401139" y="4567250"/>
            <a:ext cx="45719" cy="45719"/>
          </a:xfrm>
          <a:prstGeom prst="ellipse">
            <a:avLst/>
          </a:prstGeom>
          <a:solidFill>
            <a:schemeClr val="accent1"/>
          </a:solidFill>
          <a:ln w="25400" cap="flat" cmpd="sng">
            <a:solidFill>
              <a:srgbClr val="AF2424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5" name="Google Shape;655;p9"/>
          <p:cNvCxnSpPr/>
          <p:nvPr/>
        </p:nvCxnSpPr>
        <p:spPr>
          <a:xfrm rot="10800000">
            <a:off x="8408709" y="4584342"/>
            <a:ext cx="353297" cy="1"/>
          </a:xfrm>
          <a:prstGeom prst="straightConnector1">
            <a:avLst/>
          </a:prstGeom>
          <a:noFill/>
          <a:ln w="9525" cap="flat" cmpd="sng">
            <a:solidFill>
              <a:srgbClr val="EE2B2B"/>
            </a:solidFill>
            <a:prstDash val="solid"/>
            <a:miter lim="8000"/>
            <a:headEnd type="none" w="sm" len="sm"/>
            <a:tailEnd type="none" w="sm" len="sm"/>
          </a:ln>
        </p:spPr>
      </p:cxnSp>
      <p:sp>
        <p:nvSpPr>
          <p:cNvPr id="656" name="Google Shape;656;p9"/>
          <p:cNvSpPr/>
          <p:nvPr/>
        </p:nvSpPr>
        <p:spPr>
          <a:xfrm>
            <a:off x="8401139" y="5207811"/>
            <a:ext cx="45719" cy="45719"/>
          </a:xfrm>
          <a:prstGeom prst="ellipse">
            <a:avLst/>
          </a:prstGeom>
          <a:solidFill>
            <a:schemeClr val="accent1"/>
          </a:solidFill>
          <a:ln w="25400" cap="flat" cmpd="sng">
            <a:solidFill>
              <a:srgbClr val="AF2424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7" name="Google Shape;657;p9"/>
          <p:cNvSpPr txBox="1"/>
          <p:nvPr/>
        </p:nvSpPr>
        <p:spPr>
          <a:xfrm>
            <a:off x="5722329" y="4758871"/>
            <a:ext cx="2364815" cy="923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bilisation </a:t>
            </a:r>
            <a:b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s professionnels et</a:t>
            </a:r>
            <a:b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mandes de prix</a:t>
            </a:r>
            <a:endParaRPr/>
          </a:p>
        </p:txBody>
      </p:sp>
      <p:cxnSp>
        <p:nvCxnSpPr>
          <p:cNvPr id="658" name="Google Shape;658;p9"/>
          <p:cNvCxnSpPr>
            <a:stCxn id="656" idx="6"/>
            <a:endCxn id="657" idx="3"/>
          </p:cNvCxnSpPr>
          <p:nvPr/>
        </p:nvCxnSpPr>
        <p:spPr>
          <a:xfrm rot="10800000">
            <a:off x="8087158" y="5220471"/>
            <a:ext cx="359700" cy="10200"/>
          </a:xfrm>
          <a:prstGeom prst="straightConnector1">
            <a:avLst/>
          </a:prstGeom>
          <a:noFill/>
          <a:ln w="9525" cap="flat" cmpd="sng">
            <a:solidFill>
              <a:srgbClr val="EE2B2B"/>
            </a:solidFill>
            <a:prstDash val="solid"/>
            <a:miter lim="8000"/>
            <a:headEnd type="none" w="sm" len="sm"/>
            <a:tailEnd type="none" w="sm" len="sm"/>
          </a:ln>
        </p:spPr>
      </p:cxnSp>
      <p:sp>
        <p:nvSpPr>
          <p:cNvPr id="659" name="Google Shape;659;p9"/>
          <p:cNvSpPr txBox="1"/>
          <p:nvPr/>
        </p:nvSpPr>
        <p:spPr>
          <a:xfrm>
            <a:off x="8891290" y="5556350"/>
            <a:ext cx="2095445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ntractualisation </a:t>
            </a:r>
            <a:b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 la rénovation</a:t>
            </a:r>
            <a:endParaRPr/>
          </a:p>
        </p:txBody>
      </p:sp>
      <p:sp>
        <p:nvSpPr>
          <p:cNvPr id="660" name="Google Shape;660;p9"/>
          <p:cNvSpPr/>
          <p:nvPr/>
        </p:nvSpPr>
        <p:spPr>
          <a:xfrm>
            <a:off x="8401139" y="5854139"/>
            <a:ext cx="45719" cy="45719"/>
          </a:xfrm>
          <a:prstGeom prst="ellipse">
            <a:avLst/>
          </a:prstGeom>
          <a:solidFill>
            <a:schemeClr val="accent1"/>
          </a:solidFill>
          <a:ln w="25400" cap="flat" cmpd="sng">
            <a:solidFill>
              <a:srgbClr val="AF2424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1" name="Google Shape;661;p9"/>
          <p:cNvCxnSpPr/>
          <p:nvPr/>
        </p:nvCxnSpPr>
        <p:spPr>
          <a:xfrm rot="10800000">
            <a:off x="8422141" y="5871231"/>
            <a:ext cx="353297" cy="1"/>
          </a:xfrm>
          <a:prstGeom prst="straightConnector1">
            <a:avLst/>
          </a:prstGeom>
          <a:noFill/>
          <a:ln w="9525" cap="flat" cmpd="sng">
            <a:solidFill>
              <a:srgbClr val="EE2B2B"/>
            </a:solidFill>
            <a:prstDash val="solid"/>
            <a:miter lim="8000"/>
            <a:headEnd type="none" w="sm" len="sm"/>
            <a:tailEnd type="none" w="sm" len="sm"/>
          </a:ln>
        </p:spPr>
      </p:cxnSp>
      <p:sp>
        <p:nvSpPr>
          <p:cNvPr id="662" name="Google Shape;662;p9"/>
          <p:cNvSpPr txBox="1"/>
          <p:nvPr/>
        </p:nvSpPr>
        <p:spPr>
          <a:xfrm>
            <a:off x="7373817" y="1999554"/>
            <a:ext cx="92525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rs 2022</a:t>
            </a:r>
            <a:endParaRPr/>
          </a:p>
        </p:txBody>
      </p:sp>
      <p:sp>
        <p:nvSpPr>
          <p:cNvPr id="663" name="Google Shape;663;p9"/>
          <p:cNvSpPr txBox="1"/>
          <p:nvPr/>
        </p:nvSpPr>
        <p:spPr>
          <a:xfrm>
            <a:off x="7413891" y="4447195"/>
            <a:ext cx="885179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Juin 2022</a:t>
            </a:r>
            <a:endParaRPr/>
          </a:p>
        </p:txBody>
      </p:sp>
      <p:sp>
        <p:nvSpPr>
          <p:cNvPr id="664" name="Google Shape;664;p9"/>
          <p:cNvSpPr txBox="1"/>
          <p:nvPr/>
        </p:nvSpPr>
        <p:spPr>
          <a:xfrm>
            <a:off x="6956005" y="5741015"/>
            <a:ext cx="1317989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Novembre 2022</a:t>
            </a:r>
            <a:endParaRPr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Google Shape;669;p10"/>
          <p:cNvSpPr txBox="1">
            <a:spLocks noGrp="1"/>
          </p:cNvSpPr>
          <p:nvPr>
            <p:ph type="title"/>
          </p:nvPr>
        </p:nvSpPr>
        <p:spPr>
          <a:xfrm>
            <a:off x="547558" y="2084822"/>
            <a:ext cx="4740876" cy="323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fr-BE" sz="3600"/>
              <a:t>Et répliquer avec une deuxième vague </a:t>
            </a:r>
            <a:br>
              <a:rPr lang="fr-BE" sz="3600"/>
            </a:br>
            <a:r>
              <a:rPr lang="fr-BE" sz="3600"/>
              <a:t>un an après</a:t>
            </a:r>
            <a:endParaRPr/>
          </a:p>
        </p:txBody>
      </p:sp>
      <p:sp>
        <p:nvSpPr>
          <p:cNvPr id="28" name="Google Shape;707;p12">
            <a:extLst>
              <a:ext uri="{FF2B5EF4-FFF2-40B4-BE49-F238E27FC236}">
                <a16:creationId xmlns:a16="http://schemas.microsoft.com/office/drawing/2014/main" id="{5284E38D-2164-4414-A436-925A2931506D}"/>
              </a:ext>
            </a:extLst>
          </p:cNvPr>
          <p:cNvSpPr txBox="1"/>
          <p:nvPr/>
        </p:nvSpPr>
        <p:spPr>
          <a:xfrm>
            <a:off x="5536013" y="1849618"/>
            <a:ext cx="6466693" cy="44757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40000" lnSpcReduction="20000"/>
          </a:bodyPr>
          <a:lstStyle/>
          <a:p>
            <a:pPr marL="685800" marR="0" lvl="0" indent="-6858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La mobilisation intensive pour la vague 1 </a:t>
            </a:r>
            <a:br>
              <a:rPr lang="fr-BE" sz="480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</a:br>
            <a:r>
              <a:rPr lang="fr-BE" sz="480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et remplir le </a:t>
            </a:r>
            <a:r>
              <a:rPr lang="fr-BE" sz="4800" i="1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pipe</a:t>
            </a:r>
            <a:r>
              <a:rPr lang="fr-BE" sz="480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 d’intéressés pour une vague 2</a:t>
            </a:r>
            <a:endParaRPr dirty="0"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Affiner la mobilisation </a:t>
            </a:r>
            <a:br>
              <a:rPr lang="fr-BE" sz="480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</a:br>
            <a:r>
              <a:rPr lang="fr-BE" sz="480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en valorisant les projets de la vague 1</a:t>
            </a:r>
            <a:endParaRPr dirty="0"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Puis suivre les mêmes étapes que la vague 1 (préprojets et plans financiers, confirmation de participation, contractualisation)</a:t>
            </a: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Intégration des opportunités </a:t>
            </a:r>
            <a:br>
              <a:rPr lang="fr-BE" sz="480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</a:br>
            <a:r>
              <a:rPr lang="fr-BE" sz="480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de réseau de chaleur</a:t>
            </a:r>
            <a:endParaRPr sz="4800" i="0" u="none" strike="noStrike" cap="none" dirty="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2156962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1A9FFC-0CCE-4A0F-BA65-3002D561D64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1A9FFC-0CCE-4A0F-BA65-3002D561D6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521207" y="448056"/>
            <a:ext cx="10531492" cy="640080"/>
          </a:xfrm>
        </p:spPr>
        <p:txBody>
          <a:bodyPr vert="horz" rtlCol="0">
            <a:noAutofit/>
          </a:bodyPr>
          <a:lstStyle/>
          <a:p>
            <a:pPr rtl="0"/>
            <a:r>
              <a:rPr lang="fr-FR" dirty="0">
                <a:latin typeface="Segoe UI Light" panose="020B0502040204020203" pitchFamily="34" charset="0"/>
                <a:cs typeface="Segoe UI Light" panose="020B0502040204020203" pitchFamily="34" charset="0"/>
              </a:rPr>
              <a:t>Quelques exemples inspirants, chez nous et ailleurs</a:t>
            </a:r>
          </a:p>
        </p:txBody>
      </p:sp>
      <p:sp>
        <p:nvSpPr>
          <p:cNvPr id="38" name="Espace réservé du contenu 17"/>
          <p:cNvSpPr txBox="1">
            <a:spLocks/>
          </p:cNvSpPr>
          <p:nvPr/>
        </p:nvSpPr>
        <p:spPr>
          <a:xfrm>
            <a:off x="541609" y="1524708"/>
            <a:ext cx="7439416" cy="38715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B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oRéMi</a:t>
            </a:r>
            <a:r>
              <a:rPr kumimoji="0" lang="fr-B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(Fr, Picardie) : approche standardisée de rénovation de typologies types sur un territoire. </a:t>
            </a:r>
            <a:br>
              <a:rPr kumimoji="0" lang="fr-B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fr-B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ûts réduits de 30% à 40%</a:t>
            </a:r>
          </a:p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B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russels </a:t>
            </a:r>
            <a:r>
              <a:rPr kumimoji="0" lang="fr-B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trofit</a:t>
            </a:r>
            <a:r>
              <a:rPr kumimoji="0" lang="fr-B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Living Lab / </a:t>
            </a:r>
            <a:r>
              <a:rPr kumimoji="0" lang="fr-B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dul’air</a:t>
            </a:r>
            <a:r>
              <a:rPr kumimoji="0" lang="fr-B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(Cité </a:t>
            </a:r>
            <a:r>
              <a:rPr kumimoji="0" lang="fr-BE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Kappelleveld</a:t>
            </a:r>
            <a:r>
              <a:rPr kumimoji="0" lang="fr-B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pour info)</a:t>
            </a:r>
          </a:p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B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nergiesprong</a:t>
            </a:r>
            <a:r>
              <a:rPr kumimoji="0" lang="fr-B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fr-B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(NL, FR, UK, US, DE) : rénovation E = 0 en moins d’une semaine</a:t>
            </a:r>
          </a:p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fr-B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fr-B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fr-B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novation à chaque étape : conception/mesure/fabrication/mise en œuvre</a:t>
            </a: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103F113-E0CF-4BC2-89E3-B9B0AE0157D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24148" y="1369380"/>
            <a:ext cx="3686809" cy="209232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F20FF74-5E65-4D9A-980E-9573B6E684A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7389" r="2612" b="5206"/>
          <a:stretch/>
        </p:blipFill>
        <p:spPr>
          <a:xfrm>
            <a:off x="8478174" y="2339386"/>
            <a:ext cx="3453414" cy="2014989"/>
          </a:xfrm>
          <a:prstGeom prst="rect">
            <a:avLst/>
          </a:prstGeom>
        </p:spPr>
      </p:pic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D1FC67D8-CB5C-4748-B4B5-8F24E611634A}"/>
              </a:ext>
            </a:extLst>
          </p:cNvPr>
          <p:cNvCxnSpPr/>
          <p:nvPr/>
        </p:nvCxnSpPr>
        <p:spPr>
          <a:xfrm>
            <a:off x="5539666" y="2379216"/>
            <a:ext cx="15269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A299B72C-EB22-4FA4-8490-2DEE10481BB1}"/>
              </a:ext>
            </a:extLst>
          </p:cNvPr>
          <p:cNvCxnSpPr>
            <a:cxnSpLocks/>
          </p:cNvCxnSpPr>
          <p:nvPr/>
        </p:nvCxnSpPr>
        <p:spPr>
          <a:xfrm>
            <a:off x="958788" y="2991775"/>
            <a:ext cx="0" cy="10120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661E5C5C-7CB7-4241-847B-0EEE414D928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7527" y="4478784"/>
            <a:ext cx="2438111" cy="1440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8518B66-2803-4232-9A59-22AE457C30A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892208" y="4478784"/>
            <a:ext cx="2419201" cy="14400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B954D31-DA45-45DB-9152-A3558E957F97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4601" b="12437"/>
          <a:stretch/>
        </p:blipFill>
        <p:spPr>
          <a:xfrm>
            <a:off x="3474349" y="5743746"/>
            <a:ext cx="2080114" cy="99178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49B6EB43-B791-4C9D-B764-B9679C262BE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415910" y="4478784"/>
            <a:ext cx="2247150" cy="14400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44B5C79-6C21-4998-A47F-B614B75C953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844516" y="4478784"/>
            <a:ext cx="2820249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997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396B5C2-B356-44E9-82A6-83036D55C0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396B5C2-B356-44E9-82A6-83036D55C0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521207" y="448056"/>
            <a:ext cx="11038385" cy="640080"/>
          </a:xfrm>
        </p:spPr>
        <p:txBody>
          <a:bodyPr vert="horz" rtlCol="0">
            <a:noAutofit/>
          </a:bodyPr>
          <a:lstStyle/>
          <a:p>
            <a:pPr rtl="0"/>
            <a:r>
              <a:rPr lang="fr-FR" dirty="0">
                <a:latin typeface="Segoe UI Light" panose="020B0502040204020203" pitchFamily="34" charset="0"/>
                <a:cs typeface="Segoe UI Light" panose="020B0502040204020203" pitchFamily="34" charset="0"/>
              </a:rPr>
              <a:t>Quelques exemples inspirants, chez nous et ailleurs - </a:t>
            </a:r>
            <a:r>
              <a:rPr lang="fr-FR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nergiesprong</a:t>
            </a:r>
            <a:endParaRPr lang="fr-FR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98B4291-49DE-43C7-B221-A6A209A3A1C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90941" y="1340311"/>
            <a:ext cx="5168651" cy="264608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E1CE2FB-4971-4C2F-890B-37B8B885157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1208" y="1340311"/>
            <a:ext cx="5009706" cy="264608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2AB6D6F-060C-4E74-ABE0-8202133B443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88068" y="3345206"/>
            <a:ext cx="3547417" cy="238089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286037C-BBD7-4EBE-9BF0-F5C3B32FFB01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29138"/>
          <a:stretch/>
        </p:blipFill>
        <p:spPr>
          <a:xfrm>
            <a:off x="8773314" y="3716759"/>
            <a:ext cx="3150263" cy="227593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97E1B51-5B00-45B9-AB92-B6E23FF4A7B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855463" y="4327243"/>
            <a:ext cx="3439923" cy="2380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69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68DFF85-8C65-4AA0-B4F4-014F3EE6A9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68DFF85-8C65-4AA0-B4F4-014F3EE6A9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521207" y="448056"/>
            <a:ext cx="11049283" cy="640080"/>
          </a:xfrm>
        </p:spPr>
        <p:txBody>
          <a:bodyPr vert="horz" rtlCol="0">
            <a:noAutofit/>
          </a:bodyPr>
          <a:lstStyle/>
          <a:p>
            <a:pPr rtl="0"/>
            <a:r>
              <a:rPr lang="fr-FR" dirty="0">
                <a:latin typeface="Segoe UI Light" panose="020B0502040204020203" pitchFamily="34" charset="0"/>
                <a:cs typeface="Segoe UI Light" panose="020B0502040204020203" pitchFamily="34" charset="0"/>
              </a:rPr>
              <a:t>Rénovation en cours par le FA, Bon Air / La Roue</a:t>
            </a:r>
          </a:p>
        </p:txBody>
      </p:sp>
      <p:sp>
        <p:nvSpPr>
          <p:cNvPr id="38" name="Espace réservé du contenu 17"/>
          <p:cNvSpPr txBox="1">
            <a:spLocks/>
          </p:cNvSpPr>
          <p:nvPr/>
        </p:nvSpPr>
        <p:spPr>
          <a:xfrm>
            <a:off x="541610" y="1524708"/>
            <a:ext cx="4321704" cy="38715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énovation de 80 logements</a:t>
            </a:r>
          </a:p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utre point de départ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: tout est à refaire, interventions dans des logements vides et insalubres, à rénover de A à Z.</a:t>
            </a:r>
          </a:p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ugmentation des volumes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: annexes arrières et latérales</a:t>
            </a:r>
          </a:p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ardage bois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, Isolation de l’enveloppe</a:t>
            </a:r>
          </a:p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eaucoup d’apprentissages sur lesquels construire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, </a:t>
            </a:r>
            <a:b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is le projet ne peut pas être répliqué pour des interventions en site occupé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6B633DE-3275-4471-8C25-A6BFF2D9436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637"/>
          <a:stretch/>
        </p:blipFill>
        <p:spPr>
          <a:xfrm>
            <a:off x="5382825" y="4301282"/>
            <a:ext cx="2749197" cy="229755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BB25B06-0B81-42FD-84EE-A57B96CA46A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45010" y="4301282"/>
            <a:ext cx="3225480" cy="229755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751B4B3-C6CC-4350-AE29-A7BFB894038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82826" y="1292278"/>
            <a:ext cx="6187664" cy="2804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665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9" name="Google Shape;699;p11"/>
          <p:cNvSpPr txBox="1">
            <a:spLocks noGrp="1"/>
          </p:cNvSpPr>
          <p:nvPr>
            <p:ph type="ctrTitle"/>
          </p:nvPr>
        </p:nvSpPr>
        <p:spPr>
          <a:xfrm>
            <a:off x="866063" y="3078114"/>
            <a:ext cx="10486149" cy="16470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6000"/>
              <a:buNone/>
            </a:pPr>
            <a:r>
              <a:rPr lang="fr-BE"/>
              <a:t>Projet pilote de rénovation par quartier</a:t>
            </a:r>
            <a:endParaRPr/>
          </a:p>
        </p:txBody>
      </p:sp>
      <p:sp>
        <p:nvSpPr>
          <p:cNvPr id="700" name="Google Shape;700;p11"/>
          <p:cNvSpPr txBox="1">
            <a:spLocks noGrp="1"/>
          </p:cNvSpPr>
          <p:nvPr>
            <p:ph type="subTitle" idx="1"/>
          </p:nvPr>
        </p:nvSpPr>
        <p:spPr>
          <a:xfrm>
            <a:off x="866063" y="2498713"/>
            <a:ext cx="10486149" cy="5136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lnSpcReduction="10000"/>
          </a:bodyPr>
          <a:lstStyle/>
          <a:p>
            <a:pPr marL="228600" marR="0" lvl="0" indent="-228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700"/>
              <a:buFont typeface="Arial"/>
              <a:buNone/>
            </a:pPr>
            <a:r>
              <a:rPr lang="fr-BE"/>
              <a:t>Renov’ Roue Rad</a:t>
            </a:r>
            <a:endParaRPr/>
          </a:p>
          <a:p>
            <a:pPr marL="228600" marR="0" lvl="0" indent="-228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700"/>
              <a:buFont typeface="Arial"/>
              <a:buNone/>
            </a:pPr>
            <a:endParaRPr/>
          </a:p>
        </p:txBody>
      </p:sp>
      <p:sp>
        <p:nvSpPr>
          <p:cNvPr id="701" name="Google Shape;701;p11"/>
          <p:cNvSpPr txBox="1">
            <a:spLocks noGrp="1"/>
          </p:cNvSpPr>
          <p:nvPr>
            <p:ph type="sldNum" idx="12"/>
          </p:nvPr>
        </p:nvSpPr>
        <p:spPr>
          <a:xfrm>
            <a:off x="11483721" y="5800179"/>
            <a:ext cx="5948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fr-BE" sz="1000" b="1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rPr>
              <a:t>15</a:t>
            </a:fld>
            <a:endParaRPr sz="1000" b="1" i="0" u="none" strike="noStrike" cap="none">
              <a:solidFill>
                <a:srgbClr val="FFFFFF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2" name="Google Shape;712;p13"/>
          <p:cNvSpPr txBox="1">
            <a:spLocks noGrp="1"/>
          </p:cNvSpPr>
          <p:nvPr>
            <p:ph type="title"/>
          </p:nvPr>
        </p:nvSpPr>
        <p:spPr>
          <a:xfrm>
            <a:off x="839791" y="2084822"/>
            <a:ext cx="3960065" cy="323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fr-BE" sz="3600"/>
              <a:t>Une mobilisation sur le terrain, intensive et plus efficace</a:t>
            </a:r>
            <a:endParaRPr sz="3600"/>
          </a:p>
        </p:txBody>
      </p:sp>
      <p:sp>
        <p:nvSpPr>
          <p:cNvPr id="713" name="Google Shape;713;p13"/>
          <p:cNvSpPr txBox="1"/>
          <p:nvPr/>
        </p:nvSpPr>
        <p:spPr>
          <a:xfrm>
            <a:off x="5536013" y="1849618"/>
            <a:ext cx="6194071" cy="37729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40000" lnSpcReduction="20000"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Trebuchet MS"/>
              <a:buNone/>
            </a:pPr>
            <a:r>
              <a:rPr lang="fr-BE" sz="48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En construisant sur le tissu social élaboré en 10 ans par le Collectif La Roue : </a:t>
            </a:r>
            <a:endParaRPr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Porte à porte, séances d’information dans le quartier, fêtes de quartier</a:t>
            </a:r>
            <a:endParaRPr sz="4800" b="0" i="0" u="none" strike="noStrike" cap="none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Diversification des canaux</a:t>
            </a:r>
            <a:r>
              <a:rPr lang="fr-BE" sz="4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 : journal communal, réseaux sociaux, mailing liste</a:t>
            </a:r>
            <a:endParaRPr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L’ambition d’être </a:t>
            </a:r>
            <a:r>
              <a:rPr lang="fr-BE" sz="48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multilingue</a:t>
            </a:r>
            <a:endParaRPr sz="4800" b="1" i="0" u="none" strike="noStrike" cap="none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200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Et des voisins qui deviennent ambassadeurs</a:t>
            </a:r>
            <a:endParaRPr sz="4800" b="1" i="0" u="none" strike="noStrike" cap="none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43A35DB-A3EF-40F6-B81C-272739187F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0995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2" name="Google Shape;712;p13"/>
          <p:cNvSpPr txBox="1">
            <a:spLocks noGrp="1"/>
          </p:cNvSpPr>
          <p:nvPr>
            <p:ph type="title"/>
          </p:nvPr>
        </p:nvSpPr>
        <p:spPr>
          <a:xfrm>
            <a:off x="839791" y="2084822"/>
            <a:ext cx="3960065" cy="323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fr-BE" sz="3600" dirty="0"/>
              <a:t>La mobilisation est déjà bien amorcée, </a:t>
            </a:r>
            <a:br>
              <a:rPr lang="fr-BE" sz="3600" dirty="0"/>
            </a:br>
            <a:r>
              <a:rPr lang="fr-BE" sz="3600" dirty="0"/>
              <a:t>la visibilité par BE et le cabinet aidera</a:t>
            </a:r>
            <a:endParaRPr sz="3600" dirty="0"/>
          </a:p>
        </p:txBody>
      </p:sp>
      <p:sp>
        <p:nvSpPr>
          <p:cNvPr id="713" name="Google Shape;713;p13"/>
          <p:cNvSpPr txBox="1"/>
          <p:nvPr/>
        </p:nvSpPr>
        <p:spPr>
          <a:xfrm>
            <a:off x="5536013" y="659877"/>
            <a:ext cx="6194071" cy="56560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32500" lnSpcReduction="20000"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Trebuchet MS"/>
              <a:buNone/>
            </a:pPr>
            <a:r>
              <a:rPr lang="fr-BE" sz="48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Déjà réalisé : </a:t>
            </a:r>
            <a:endParaRPr dirty="0"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b="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Porte à porte, suivi e-mail et téléphonique</a:t>
            </a: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Séances d’information mensuelles</a:t>
            </a: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Matériel de communication </a:t>
            </a:r>
            <a:br>
              <a:rPr lang="fr-BE" sz="4800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</a:br>
            <a:r>
              <a:rPr lang="fr-BE" sz="4800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(triptyque, affiches, vidéo aérienne)</a:t>
            </a:r>
          </a:p>
          <a:p>
            <a:pPr marR="0" lvl="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</a:pPr>
            <a:r>
              <a:rPr lang="fr-BE" sz="48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A réaliser :</a:t>
            </a: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 panose="020B0604020202020204" pitchFamily="34" charset="0"/>
              <a:buChar char="•"/>
            </a:pPr>
            <a:r>
              <a:rPr lang="fr-BE" sz="4800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Co-construction des balises de fonctionnement avec la vague 1</a:t>
            </a: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 panose="020B0604020202020204" pitchFamily="34" charset="0"/>
              <a:buChar char="•"/>
            </a:pPr>
            <a:r>
              <a:rPr lang="fr-BE" sz="480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Accompagner les participants sur leurs différentes questions</a:t>
            </a: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 panose="020B0604020202020204" pitchFamily="34" charset="0"/>
              <a:buChar char="•"/>
            </a:pPr>
            <a:r>
              <a:rPr lang="fr-BE" sz="4800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Augmenter la taille de la vague 1 pour assurer au moins 20 candidats</a:t>
            </a: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 panose="020B0604020202020204" pitchFamily="34" charset="0"/>
              <a:buChar char="•"/>
            </a:pPr>
            <a:r>
              <a:rPr lang="fr-BE" sz="480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Bon moment pour la visite du Ministre : avril</a:t>
            </a:r>
          </a:p>
        </p:txBody>
      </p:sp>
    </p:spTree>
    <p:extLst>
      <p:ext uri="{BB962C8B-B14F-4D97-AF65-F5344CB8AC3E}">
        <p14:creationId xmlns:p14="http://schemas.microsoft.com/office/powerpoint/2010/main" val="22997626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8" name="Google Shape;718;p14"/>
          <p:cNvSpPr txBox="1">
            <a:spLocks noGrp="1"/>
          </p:cNvSpPr>
          <p:nvPr>
            <p:ph type="title"/>
          </p:nvPr>
        </p:nvSpPr>
        <p:spPr>
          <a:xfrm>
            <a:off x="839791" y="2084822"/>
            <a:ext cx="3960065" cy="323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fr-BE" sz="3600"/>
              <a:t>Un accompagnement technique plus efficient</a:t>
            </a:r>
            <a:endParaRPr sz="3600"/>
          </a:p>
        </p:txBody>
      </p:sp>
      <p:sp>
        <p:nvSpPr>
          <p:cNvPr id="719" name="Google Shape;719;p14"/>
          <p:cNvSpPr txBox="1"/>
          <p:nvPr/>
        </p:nvSpPr>
        <p:spPr>
          <a:xfrm>
            <a:off x="5536013" y="1849618"/>
            <a:ext cx="6194071" cy="37729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rebuchet MS"/>
              <a:buNone/>
            </a:pPr>
            <a:r>
              <a:rPr lang="fr-BE" sz="2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En construisant sur l’homogénéité des composants de bâtiments dans un voisinage : </a:t>
            </a:r>
            <a:endParaRPr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fr-BE" sz="2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Approche modulaire de rénovation</a:t>
            </a:r>
            <a:endParaRPr sz="2000" b="0" i="0" u="none" strike="noStrike" cap="none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fr-BE"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Définition de </a:t>
            </a:r>
            <a:r>
              <a:rPr lang="fr-BE" sz="2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solutions standards</a:t>
            </a:r>
            <a:endParaRPr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fr-BE" sz="2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Cohérentes avec l’objectif 2050</a:t>
            </a:r>
            <a:endParaRPr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200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fr-BE"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Accompagnement individuel allégé</a:t>
            </a:r>
            <a:endParaRPr sz="2000" b="1" i="0" u="none" strike="noStrike" cap="none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43A35DB-A3EF-40F6-B81C-272739187F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7967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43A35DB-A3EF-40F6-B81C-272739187F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2" name="Google Shape;712;p13"/>
          <p:cNvSpPr txBox="1">
            <a:spLocks noGrp="1"/>
          </p:cNvSpPr>
          <p:nvPr>
            <p:ph type="title"/>
          </p:nvPr>
        </p:nvSpPr>
        <p:spPr>
          <a:xfrm>
            <a:off x="461917" y="2084822"/>
            <a:ext cx="4337940" cy="323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fr-BE" sz="3600" dirty="0"/>
              <a:t>Les activités techniques se sont concentrées sur un pré-diagnostic et sur la balises architecturales</a:t>
            </a:r>
            <a:endParaRPr sz="3600" dirty="0"/>
          </a:p>
        </p:txBody>
      </p:sp>
      <p:sp>
        <p:nvSpPr>
          <p:cNvPr id="713" name="Google Shape;713;p13"/>
          <p:cNvSpPr txBox="1"/>
          <p:nvPr/>
        </p:nvSpPr>
        <p:spPr>
          <a:xfrm>
            <a:off x="5536013" y="659877"/>
            <a:ext cx="6194071" cy="60991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32500" lnSpcReduction="20000"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Trebuchet MS"/>
              <a:buNone/>
            </a:pPr>
            <a:r>
              <a:rPr lang="fr-BE" sz="48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Déjà réalisé : </a:t>
            </a:r>
            <a:endParaRPr dirty="0"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b="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Diagnostic des besoins/souhaits de chacun</a:t>
            </a: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b="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Identifier les typologies types et proposer des a</a:t>
            </a:r>
            <a:r>
              <a:rPr lang="fr-BE" sz="4800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pproches d’isolation par l’extérieur</a:t>
            </a: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Concertation Urban, Commune, FA, BMA</a:t>
            </a:r>
          </a:p>
          <a:p>
            <a:pPr marR="0" lvl="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</a:pPr>
            <a:r>
              <a:rPr lang="fr-BE" sz="48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A réaliser :</a:t>
            </a: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 panose="020B0604020202020204" pitchFamily="34" charset="0"/>
              <a:buChar char="•"/>
            </a:pPr>
            <a:r>
              <a:rPr lang="fr-BE" sz="4800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Analyse urbanistique du quartier </a:t>
            </a:r>
            <a:br>
              <a:rPr lang="fr-BE" sz="4800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</a:br>
            <a:r>
              <a:rPr lang="fr-BE" sz="4800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(</a:t>
            </a:r>
            <a:r>
              <a:rPr lang="fr-BE" sz="4800" b="1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besoin de support des GT </a:t>
            </a:r>
            <a:r>
              <a:rPr lang="fr-BE" sz="4800" b="1" dirty="0" err="1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rénolution</a:t>
            </a:r>
            <a:r>
              <a:rPr lang="fr-BE" sz="4800" b="1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 !</a:t>
            </a:r>
            <a:r>
              <a:rPr lang="fr-BE" sz="4800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)</a:t>
            </a: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 panose="020B0604020202020204" pitchFamily="34" charset="0"/>
              <a:buChar char="•"/>
            </a:pPr>
            <a:r>
              <a:rPr lang="fr-BE" sz="4800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Affiner les projets architecturaux</a:t>
            </a: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 panose="020B0604020202020204" pitchFamily="34" charset="0"/>
              <a:buChar char="•"/>
            </a:pPr>
            <a:r>
              <a:rPr lang="fr-BE" sz="480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Poursuivre la concertation avec les acteurs</a:t>
            </a: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 panose="020B0604020202020204" pitchFamily="34" charset="0"/>
              <a:buChar char="•"/>
            </a:pPr>
            <a:r>
              <a:rPr lang="fr-BE" sz="4800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Etude </a:t>
            </a:r>
            <a:r>
              <a:rPr lang="fr-BE" sz="4800" dirty="0" err="1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Rénolution</a:t>
            </a:r>
            <a:r>
              <a:rPr lang="fr-BE" sz="4800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 sur les typologies types</a:t>
            </a: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 panose="020B0604020202020204" pitchFamily="34" charset="0"/>
              <a:buChar char="•"/>
            </a:pPr>
            <a:r>
              <a:rPr lang="fr-BE" sz="480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Elaborer les </a:t>
            </a:r>
            <a:r>
              <a:rPr lang="fr-BE" sz="4800" i="0" u="none" strike="noStrike" cap="none" dirty="0" err="1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pré-projets</a:t>
            </a:r>
            <a:r>
              <a:rPr lang="fr-BE" sz="480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 individuels</a:t>
            </a: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 panose="020B0604020202020204" pitchFamily="34" charset="0"/>
              <a:buChar char="•"/>
            </a:pPr>
            <a:r>
              <a:rPr lang="fr-BE" sz="4800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Réaliser la demande de permis groupé</a:t>
            </a:r>
            <a:endParaRPr lang="fr-BE" sz="4800" i="0" u="none" strike="noStrike" cap="none" dirty="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8455025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5" name="Google Shape;555;p3"/>
          <p:cNvPicPr preferRelativeResize="0"/>
          <p:nvPr/>
        </p:nvPicPr>
        <p:blipFill rotWithShape="1">
          <a:blip r:embed="rId3">
            <a:alphaModFix/>
          </a:blip>
          <a:srcRect l="4447" t="21958"/>
          <a:stretch/>
        </p:blipFill>
        <p:spPr>
          <a:xfrm>
            <a:off x="0" y="-6120"/>
            <a:ext cx="12239998" cy="6867001"/>
          </a:xfrm>
          <a:prstGeom prst="rect">
            <a:avLst/>
          </a:prstGeom>
          <a:noFill/>
          <a:ln>
            <a:noFill/>
          </a:ln>
        </p:spPr>
      </p:pic>
      <p:sp>
        <p:nvSpPr>
          <p:cNvPr id="556" name="Google Shape;556;p3"/>
          <p:cNvSpPr/>
          <p:nvPr/>
        </p:nvSpPr>
        <p:spPr>
          <a:xfrm>
            <a:off x="839880" y="2084760"/>
            <a:ext cx="4031280" cy="3232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7" name="Google Shape;557;p3"/>
          <p:cNvSpPr/>
          <p:nvPr/>
        </p:nvSpPr>
        <p:spPr>
          <a:xfrm>
            <a:off x="11483640" y="5800320"/>
            <a:ext cx="594000" cy="36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BE" sz="10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2</a:t>
            </a:fld>
            <a:endParaRPr sz="10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8" name="Google Shape;558;p3"/>
          <p:cNvSpPr/>
          <p:nvPr/>
        </p:nvSpPr>
        <p:spPr>
          <a:xfrm rot="5400000">
            <a:off x="7915680" y="798120"/>
            <a:ext cx="390060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000" b="0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Rénover ensemble pour une ville durable </a:t>
            </a:r>
            <a:endParaRPr sz="10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9" name="Google Shape;559;p3"/>
          <p:cNvSpPr/>
          <p:nvPr/>
        </p:nvSpPr>
        <p:spPr>
          <a:xfrm>
            <a:off x="5642040" y="387600"/>
            <a:ext cx="1762500" cy="137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7200" b="0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40%</a:t>
            </a:r>
            <a:endParaRPr sz="72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0" name="Google Shape;560;p3"/>
          <p:cNvSpPr/>
          <p:nvPr/>
        </p:nvSpPr>
        <p:spPr>
          <a:xfrm>
            <a:off x="7610160" y="680280"/>
            <a:ext cx="2237100" cy="7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 b="0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des logements construits </a:t>
            </a:r>
            <a:endParaRPr sz="18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 b="0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avant 1945</a:t>
            </a:r>
            <a:endParaRPr sz="18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1" name="Google Shape;561;p3"/>
          <p:cNvSpPr txBox="1"/>
          <p:nvPr/>
        </p:nvSpPr>
        <p:spPr>
          <a:xfrm>
            <a:off x="5760000" y="1715550"/>
            <a:ext cx="5760000" cy="39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39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...dont la cité jardin de La Roue, à Anderlecht</a:t>
            </a:r>
            <a:endParaRPr sz="39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2" name="Google Shape;562;p3"/>
          <p:cNvSpPr txBox="1"/>
          <p:nvPr/>
        </p:nvSpPr>
        <p:spPr>
          <a:xfrm>
            <a:off x="836280" y="6149160"/>
            <a:ext cx="9907560" cy="427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u="sng" strike="noStrike" dirty="0">
                <a:solidFill>
                  <a:srgbClr val="FFFFFF"/>
                </a:solidFill>
                <a:latin typeface="Times New Roman"/>
                <a:ea typeface="Times New Roman"/>
                <a:cs typeface="Times New Roman"/>
                <a:sym typeface="Times New Roman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renov-roue-rad.brussels/le-projet-renolab/mobilisation-et-communication/</a:t>
            </a:r>
            <a:endParaRPr sz="1200" b="0" strike="noStrike" dirty="0">
              <a:solidFill>
                <a:schemeClr val="dk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563" name="Google Shape;563;p3"/>
          <p:cNvSpPr/>
          <p:nvPr/>
        </p:nvSpPr>
        <p:spPr>
          <a:xfrm>
            <a:off x="535075" y="103550"/>
            <a:ext cx="4806900" cy="323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48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Le secteur </a:t>
            </a:r>
            <a:endParaRPr sz="4800" b="1" strike="noStrike">
              <a:solidFill>
                <a:srgbClr val="0900BD"/>
              </a:solidFill>
              <a:latin typeface="Trebuchet MS"/>
              <a:ea typeface="Trebuchet MS"/>
              <a:cs typeface="Trebuchet MS"/>
              <a:sym typeface="Trebuchet MS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48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du bâtiment premier responsable </a:t>
            </a:r>
            <a:endParaRPr sz="4800" b="1" strike="noStrike">
              <a:solidFill>
                <a:srgbClr val="0900BD"/>
              </a:solidFill>
              <a:latin typeface="Trebuchet MS"/>
              <a:ea typeface="Trebuchet MS"/>
              <a:cs typeface="Trebuchet MS"/>
              <a:sym typeface="Trebuchet MS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48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des GES en RBC</a:t>
            </a:r>
            <a:endParaRPr sz="48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108269" y="448056"/>
            <a:ext cx="10480536" cy="640080"/>
          </a:xfrm>
        </p:spPr>
        <p:txBody>
          <a:bodyPr rtlCol="0">
            <a:normAutofit/>
          </a:bodyPr>
          <a:lstStyle/>
          <a:p>
            <a:pPr rtl="0"/>
            <a:r>
              <a:rPr lang="fr-FR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Analyser les matériaux et les compositions générales des façades existantes des typologies</a:t>
            </a:r>
          </a:p>
        </p:txBody>
      </p:sp>
      <p:grpSp>
        <p:nvGrpSpPr>
          <p:cNvPr id="18" name="Groupe 17" descr="Petit cercle contenant le chiffre 1 pour indiquer la première étape"/>
          <p:cNvGrpSpPr/>
          <p:nvPr/>
        </p:nvGrpSpPr>
        <p:grpSpPr bwMode="blackWhite">
          <a:xfrm>
            <a:off x="531552" y="678298"/>
            <a:ext cx="558179" cy="409838"/>
            <a:chOff x="6953426" y="711274"/>
            <a:chExt cx="558179" cy="409838"/>
          </a:xfrm>
        </p:grpSpPr>
        <p:sp>
          <p:nvSpPr>
            <p:cNvPr id="19" name="Ovale 18" descr="Petit cercle"/>
            <p:cNvSpPr/>
            <p:nvPr/>
          </p:nvSpPr>
          <p:spPr bwMode="blackWhite">
            <a:xfrm>
              <a:off x="7025069" y="711274"/>
              <a:ext cx="409838" cy="409838"/>
            </a:xfrm>
            <a:prstGeom prst="ellipse">
              <a:avLst/>
            </a:prstGeom>
            <a:solidFill>
              <a:srgbClr val="D247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" name="Zone de texte 19" descr="Chiffre 1"/>
            <p:cNvSpPr txBox="1">
              <a:spLocks noChangeAspect="1"/>
            </p:cNvSpPr>
            <p:nvPr/>
          </p:nvSpPr>
          <p:spPr bwMode="blackWhite">
            <a:xfrm>
              <a:off x="6953426" y="727564"/>
              <a:ext cx="55817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2</a:t>
              </a:r>
            </a:p>
          </p:txBody>
        </p:sp>
      </p:grpSp>
      <p:sp>
        <p:nvSpPr>
          <p:cNvPr id="33" name="Espace réservé du contenu 17">
            <a:extLst>
              <a:ext uri="{FF2B5EF4-FFF2-40B4-BE49-F238E27FC236}">
                <a16:creationId xmlns:a16="http://schemas.microsoft.com/office/drawing/2014/main" id="{CBCECE11-2913-4872-B863-F4021A649589}"/>
              </a:ext>
            </a:extLst>
          </p:cNvPr>
          <p:cNvSpPr txBox="1">
            <a:spLocks/>
          </p:cNvSpPr>
          <p:nvPr/>
        </p:nvSpPr>
        <p:spPr>
          <a:xfrm>
            <a:off x="1170210" y="1400393"/>
            <a:ext cx="1654127" cy="4599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ypologie 1</a:t>
            </a:r>
          </a:p>
        </p:txBody>
      </p:sp>
      <p:sp>
        <p:nvSpPr>
          <p:cNvPr id="34" name="Espace réservé du contenu 17">
            <a:extLst>
              <a:ext uri="{FF2B5EF4-FFF2-40B4-BE49-F238E27FC236}">
                <a16:creationId xmlns:a16="http://schemas.microsoft.com/office/drawing/2014/main" id="{DF534525-5882-4D61-9624-2685C044601E}"/>
              </a:ext>
            </a:extLst>
          </p:cNvPr>
          <p:cNvSpPr txBox="1">
            <a:spLocks/>
          </p:cNvSpPr>
          <p:nvPr/>
        </p:nvSpPr>
        <p:spPr>
          <a:xfrm>
            <a:off x="2896243" y="1391766"/>
            <a:ext cx="1695989" cy="4599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ypologie 2</a:t>
            </a:r>
          </a:p>
        </p:txBody>
      </p:sp>
      <p:sp>
        <p:nvSpPr>
          <p:cNvPr id="35" name="Espace réservé du contenu 17">
            <a:extLst>
              <a:ext uri="{FF2B5EF4-FFF2-40B4-BE49-F238E27FC236}">
                <a16:creationId xmlns:a16="http://schemas.microsoft.com/office/drawing/2014/main" id="{D12CB023-A182-45F4-98CB-7786326662E0}"/>
              </a:ext>
            </a:extLst>
          </p:cNvPr>
          <p:cNvSpPr txBox="1">
            <a:spLocks/>
          </p:cNvSpPr>
          <p:nvPr/>
        </p:nvSpPr>
        <p:spPr>
          <a:xfrm>
            <a:off x="8282184" y="1398292"/>
            <a:ext cx="1557338" cy="4599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ypologie 5</a:t>
            </a:r>
          </a:p>
        </p:txBody>
      </p:sp>
      <p:sp>
        <p:nvSpPr>
          <p:cNvPr id="36" name="Espace réservé du contenu 17">
            <a:extLst>
              <a:ext uri="{FF2B5EF4-FFF2-40B4-BE49-F238E27FC236}">
                <a16:creationId xmlns:a16="http://schemas.microsoft.com/office/drawing/2014/main" id="{A49C8D7A-E11C-4505-9109-BD4D1EB783F1}"/>
              </a:ext>
            </a:extLst>
          </p:cNvPr>
          <p:cNvSpPr txBox="1">
            <a:spLocks/>
          </p:cNvSpPr>
          <p:nvPr/>
        </p:nvSpPr>
        <p:spPr>
          <a:xfrm>
            <a:off x="9911976" y="1387537"/>
            <a:ext cx="1710860" cy="45865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ypologie 6</a:t>
            </a:r>
          </a:p>
        </p:txBody>
      </p:sp>
      <p:sp>
        <p:nvSpPr>
          <p:cNvPr id="37" name="Espace réservé du contenu 17">
            <a:extLst>
              <a:ext uri="{FF2B5EF4-FFF2-40B4-BE49-F238E27FC236}">
                <a16:creationId xmlns:a16="http://schemas.microsoft.com/office/drawing/2014/main" id="{6AB703B7-B064-4C30-AD70-AAF816013D23}"/>
              </a:ext>
            </a:extLst>
          </p:cNvPr>
          <p:cNvSpPr txBox="1">
            <a:spLocks/>
          </p:cNvSpPr>
          <p:nvPr/>
        </p:nvSpPr>
        <p:spPr>
          <a:xfrm>
            <a:off x="4629542" y="1396199"/>
            <a:ext cx="1820841" cy="4599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ypologie 3</a:t>
            </a:r>
          </a:p>
        </p:txBody>
      </p:sp>
      <p:sp>
        <p:nvSpPr>
          <p:cNvPr id="38" name="Espace réservé du contenu 17">
            <a:extLst>
              <a:ext uri="{FF2B5EF4-FFF2-40B4-BE49-F238E27FC236}">
                <a16:creationId xmlns:a16="http://schemas.microsoft.com/office/drawing/2014/main" id="{08400B13-4B77-4E9B-A35F-EF990E8CCE17}"/>
              </a:ext>
            </a:extLst>
          </p:cNvPr>
          <p:cNvSpPr txBox="1">
            <a:spLocks/>
          </p:cNvSpPr>
          <p:nvPr/>
        </p:nvSpPr>
        <p:spPr>
          <a:xfrm>
            <a:off x="6487693" y="1393137"/>
            <a:ext cx="1719980" cy="4599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ypologie 4</a:t>
            </a:r>
          </a:p>
        </p:txBody>
      </p:sp>
      <p:cxnSp>
        <p:nvCxnSpPr>
          <p:cNvPr id="43" name="Connecteur droit 42">
            <a:extLst>
              <a:ext uri="{FF2B5EF4-FFF2-40B4-BE49-F238E27FC236}">
                <a16:creationId xmlns:a16="http://schemas.microsoft.com/office/drawing/2014/main" id="{E9A5F076-14DC-434A-BCFE-6F50B30009AC}"/>
              </a:ext>
            </a:extLst>
          </p:cNvPr>
          <p:cNvCxnSpPr>
            <a:cxnSpLocks/>
          </p:cNvCxnSpPr>
          <p:nvPr/>
        </p:nvCxnSpPr>
        <p:spPr>
          <a:xfrm>
            <a:off x="1199072" y="1642598"/>
            <a:ext cx="10419490" cy="26022"/>
          </a:xfrm>
          <a:prstGeom prst="line">
            <a:avLst/>
          </a:prstGeom>
          <a:ln>
            <a:solidFill>
              <a:srgbClr val="D24726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5" name="Espace réservé du contenu 17">
            <a:extLst>
              <a:ext uri="{FF2B5EF4-FFF2-40B4-BE49-F238E27FC236}">
                <a16:creationId xmlns:a16="http://schemas.microsoft.com/office/drawing/2014/main" id="{1C43180A-71B6-434F-8D04-7B53DCCC370F}"/>
              </a:ext>
            </a:extLst>
          </p:cNvPr>
          <p:cNvSpPr txBox="1">
            <a:spLocks/>
          </p:cNvSpPr>
          <p:nvPr/>
        </p:nvSpPr>
        <p:spPr>
          <a:xfrm>
            <a:off x="204976" y="4527799"/>
            <a:ext cx="1082930" cy="1937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oitu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aphicFrame>
        <p:nvGraphicFramePr>
          <p:cNvPr id="6" name="Tableau 6">
            <a:extLst>
              <a:ext uri="{FF2B5EF4-FFF2-40B4-BE49-F238E27FC236}">
                <a16:creationId xmlns:a16="http://schemas.microsoft.com/office/drawing/2014/main" id="{E4754CA3-E225-4FD3-99E6-8C8E6C07EB26}"/>
              </a:ext>
            </a:extLst>
          </p:cNvPr>
          <p:cNvGraphicFramePr>
            <a:graphicFrameLocks noGrp="1"/>
          </p:cNvGraphicFramePr>
          <p:nvPr/>
        </p:nvGraphicFramePr>
        <p:xfrm>
          <a:off x="1199071" y="4539120"/>
          <a:ext cx="10419486" cy="164058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36581">
                  <a:extLst>
                    <a:ext uri="{9D8B030D-6E8A-4147-A177-3AD203B41FA5}">
                      <a16:colId xmlns:a16="http://schemas.microsoft.com/office/drawing/2014/main" val="3066196359"/>
                    </a:ext>
                  </a:extLst>
                </a:gridCol>
                <a:gridCol w="1736581">
                  <a:extLst>
                    <a:ext uri="{9D8B030D-6E8A-4147-A177-3AD203B41FA5}">
                      <a16:colId xmlns:a16="http://schemas.microsoft.com/office/drawing/2014/main" val="1397646718"/>
                    </a:ext>
                  </a:extLst>
                </a:gridCol>
                <a:gridCol w="1736581">
                  <a:extLst>
                    <a:ext uri="{9D8B030D-6E8A-4147-A177-3AD203B41FA5}">
                      <a16:colId xmlns:a16="http://schemas.microsoft.com/office/drawing/2014/main" val="4290497579"/>
                    </a:ext>
                  </a:extLst>
                </a:gridCol>
                <a:gridCol w="1736581">
                  <a:extLst>
                    <a:ext uri="{9D8B030D-6E8A-4147-A177-3AD203B41FA5}">
                      <a16:colId xmlns:a16="http://schemas.microsoft.com/office/drawing/2014/main" val="3558429195"/>
                    </a:ext>
                  </a:extLst>
                </a:gridCol>
                <a:gridCol w="1736581">
                  <a:extLst>
                    <a:ext uri="{9D8B030D-6E8A-4147-A177-3AD203B41FA5}">
                      <a16:colId xmlns:a16="http://schemas.microsoft.com/office/drawing/2014/main" val="2858903924"/>
                    </a:ext>
                  </a:extLst>
                </a:gridCol>
                <a:gridCol w="1736581">
                  <a:extLst>
                    <a:ext uri="{9D8B030D-6E8A-4147-A177-3AD203B41FA5}">
                      <a16:colId xmlns:a16="http://schemas.microsoft.com/office/drawing/2014/main" val="2478195332"/>
                    </a:ext>
                  </a:extLst>
                </a:gridCol>
              </a:tblGrid>
              <a:tr h="396553">
                <a:tc>
                  <a:txBody>
                    <a:bodyPr/>
                    <a:lstStyle/>
                    <a:p>
                      <a:pPr algn="ctr"/>
                      <a:r>
                        <a:rPr lang="fr-BE" sz="900" dirty="0"/>
                        <a:t>Tuile terre-cuite rouge</a:t>
                      </a:r>
                    </a:p>
                    <a:p>
                      <a:pPr algn="ctr"/>
                      <a:r>
                        <a:rPr lang="fr-BE" sz="900" dirty="0"/>
                        <a:t>corniche en bois blan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900" dirty="0"/>
                        <a:t>Tuile terre-cuite rouge</a:t>
                      </a:r>
                    </a:p>
                    <a:p>
                      <a:pPr algn="ctr"/>
                      <a:endParaRPr lang="fr-BE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900" dirty="0"/>
                        <a:t>Tuile terre-cuite rou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900" dirty="0"/>
                        <a:t>Tuile terre-cuite noi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900" dirty="0"/>
                        <a:t>Tuile terre-cuite rou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900" dirty="0"/>
                        <a:t>Tuile terre-cuite rouge</a:t>
                      </a:r>
                    </a:p>
                    <a:p>
                      <a:pPr algn="ctr"/>
                      <a:r>
                        <a:rPr lang="fr-BE" sz="900" dirty="0"/>
                        <a:t>Gouttière pendan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8391834"/>
                  </a:ext>
                </a:extLst>
              </a:tr>
              <a:tr h="344556">
                <a:tc>
                  <a:txBody>
                    <a:bodyPr/>
                    <a:lstStyle/>
                    <a:p>
                      <a:pPr algn="ctr"/>
                      <a:r>
                        <a:rPr lang="fr-BE" sz="900" dirty="0"/>
                        <a:t>Enduit gr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900" dirty="0"/>
                        <a:t>Maçonnerie pein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900" dirty="0"/>
                        <a:t>Enduit blan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900" dirty="0"/>
                        <a:t>Enduit blan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900" dirty="0"/>
                        <a:t>Enduit oc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900" dirty="0"/>
                        <a:t>Enduit blan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1772459"/>
                  </a:ext>
                </a:extLst>
              </a:tr>
              <a:tr h="396553">
                <a:tc>
                  <a:txBody>
                    <a:bodyPr/>
                    <a:lstStyle/>
                    <a:p>
                      <a:pPr algn="ctr"/>
                      <a:r>
                        <a:rPr lang="fr-BE" sz="900" dirty="0"/>
                        <a:t>Brique de parement</a:t>
                      </a:r>
                    </a:p>
                    <a:p>
                      <a:pPr algn="ctr"/>
                      <a:r>
                        <a:rPr lang="fr-BE" sz="900" dirty="0"/>
                        <a:t>Soubassement pierre naturelle</a:t>
                      </a:r>
                    </a:p>
                  </a:txBody>
                  <a:tcPr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900" dirty="0"/>
                        <a:t>Maçonnerie pein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900" dirty="0"/>
                        <a:t>Brique de parement</a:t>
                      </a:r>
                    </a:p>
                    <a:p>
                      <a:pPr algn="ctr"/>
                      <a:r>
                        <a:rPr lang="fr-BE" sz="900" dirty="0"/>
                        <a:t>Soubassement pierre naturel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900" dirty="0"/>
                        <a:t>Brique de parement</a:t>
                      </a:r>
                    </a:p>
                    <a:p>
                      <a:pPr algn="ctr"/>
                      <a:r>
                        <a:rPr lang="fr-BE" sz="900" dirty="0"/>
                        <a:t>Soubassement pierre naturel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900" dirty="0"/>
                        <a:t>Brique de parement naturel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900" dirty="0"/>
                        <a:t>Enduit blan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9929022"/>
                  </a:ext>
                </a:extLst>
              </a:tr>
              <a:tr h="396553">
                <a:tc>
                  <a:txBody>
                    <a:bodyPr/>
                    <a:lstStyle/>
                    <a:p>
                      <a:pPr algn="ctr"/>
                      <a:r>
                        <a:rPr lang="fr-BE" sz="900" dirty="0"/>
                        <a:t>Auvent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900" dirty="0"/>
                        <a:t>Auvent</a:t>
                      </a:r>
                    </a:p>
                    <a:p>
                      <a:pPr algn="ctr"/>
                      <a:r>
                        <a:rPr lang="fr-BE" sz="900" dirty="0"/>
                        <a:t>Descente d’eau centrée</a:t>
                      </a:r>
                    </a:p>
                    <a:p>
                      <a:pPr algn="ctr"/>
                      <a:r>
                        <a:rPr lang="fr-BE" sz="900" dirty="0"/>
                        <a:t>Brises de toiture</a:t>
                      </a:r>
                    </a:p>
                  </a:txBody>
                  <a:tcPr>
                    <a:lnL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BE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900" dirty="0"/>
                        <a:t>Géométrie générale</a:t>
                      </a:r>
                    </a:p>
                    <a:p>
                      <a:pPr algn="ctr"/>
                      <a:r>
                        <a:rPr lang="fr-BE" sz="900" dirty="0"/>
                        <a:t>Débordement de toiture</a:t>
                      </a:r>
                    </a:p>
                    <a:p>
                      <a:pPr algn="ctr"/>
                      <a:r>
                        <a:rPr lang="fr-BE" sz="900" dirty="0"/>
                        <a:t>Auv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/>
                        <a:t>Auvent</a:t>
                      </a:r>
                      <a:endParaRPr lang="fr-BE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900" dirty="0"/>
                        <a:t>Auv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238961"/>
                  </a:ext>
                </a:extLst>
              </a:tr>
            </a:tbl>
          </a:graphicData>
        </a:graphic>
      </p:graphicFrame>
      <p:cxnSp>
        <p:nvCxnSpPr>
          <p:cNvPr id="76" name="Connecteur droit 75">
            <a:extLst>
              <a:ext uri="{FF2B5EF4-FFF2-40B4-BE49-F238E27FC236}">
                <a16:creationId xmlns:a16="http://schemas.microsoft.com/office/drawing/2014/main" id="{E895DF33-4589-49FB-8090-08E477FBB3F6}"/>
              </a:ext>
            </a:extLst>
          </p:cNvPr>
          <p:cNvCxnSpPr>
            <a:cxnSpLocks/>
          </p:cNvCxnSpPr>
          <p:nvPr/>
        </p:nvCxnSpPr>
        <p:spPr>
          <a:xfrm>
            <a:off x="284672" y="4903132"/>
            <a:ext cx="11333890" cy="28306"/>
          </a:xfrm>
          <a:prstGeom prst="line">
            <a:avLst/>
          </a:prstGeom>
          <a:ln>
            <a:solidFill>
              <a:srgbClr val="D24726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8" name="Connecteur droit 77">
            <a:extLst>
              <a:ext uri="{FF2B5EF4-FFF2-40B4-BE49-F238E27FC236}">
                <a16:creationId xmlns:a16="http://schemas.microsoft.com/office/drawing/2014/main" id="{2972CBA8-673F-41EA-8AA6-D6F4CB948EB5}"/>
              </a:ext>
            </a:extLst>
          </p:cNvPr>
          <p:cNvCxnSpPr>
            <a:cxnSpLocks/>
          </p:cNvCxnSpPr>
          <p:nvPr/>
        </p:nvCxnSpPr>
        <p:spPr>
          <a:xfrm>
            <a:off x="284672" y="5228015"/>
            <a:ext cx="11333890" cy="28306"/>
          </a:xfrm>
          <a:prstGeom prst="line">
            <a:avLst/>
          </a:prstGeom>
          <a:ln>
            <a:solidFill>
              <a:srgbClr val="D24726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9" name="Connecteur droit 78">
            <a:extLst>
              <a:ext uri="{FF2B5EF4-FFF2-40B4-BE49-F238E27FC236}">
                <a16:creationId xmlns:a16="http://schemas.microsoft.com/office/drawing/2014/main" id="{7FC15D12-5649-4FDB-B971-28ED1629DCCD}"/>
              </a:ext>
            </a:extLst>
          </p:cNvPr>
          <p:cNvCxnSpPr>
            <a:cxnSpLocks/>
          </p:cNvCxnSpPr>
          <p:nvPr/>
        </p:nvCxnSpPr>
        <p:spPr>
          <a:xfrm>
            <a:off x="284672" y="5653506"/>
            <a:ext cx="11333890" cy="28306"/>
          </a:xfrm>
          <a:prstGeom prst="line">
            <a:avLst/>
          </a:prstGeom>
          <a:ln>
            <a:solidFill>
              <a:srgbClr val="D24726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1" name="Espace réservé du contenu 17">
            <a:extLst>
              <a:ext uri="{FF2B5EF4-FFF2-40B4-BE49-F238E27FC236}">
                <a16:creationId xmlns:a16="http://schemas.microsoft.com/office/drawing/2014/main" id="{64031A8A-0361-41CA-BDEB-794506CB53E8}"/>
              </a:ext>
            </a:extLst>
          </p:cNvPr>
          <p:cNvSpPr txBox="1">
            <a:spLocks/>
          </p:cNvSpPr>
          <p:nvPr/>
        </p:nvSpPr>
        <p:spPr>
          <a:xfrm>
            <a:off x="204976" y="4957683"/>
            <a:ext cx="1082930" cy="1937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emier nivea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2" name="Espace réservé du contenu 17">
            <a:extLst>
              <a:ext uri="{FF2B5EF4-FFF2-40B4-BE49-F238E27FC236}">
                <a16:creationId xmlns:a16="http://schemas.microsoft.com/office/drawing/2014/main" id="{2DE24F4E-DA8E-4B36-AC93-0CC26CEF3ABB}"/>
              </a:ext>
            </a:extLst>
          </p:cNvPr>
          <p:cNvSpPr txBox="1">
            <a:spLocks/>
          </p:cNvSpPr>
          <p:nvPr/>
        </p:nvSpPr>
        <p:spPr>
          <a:xfrm>
            <a:off x="204976" y="5283854"/>
            <a:ext cx="1082930" cy="1937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z-de-chaussé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3" name="Espace réservé du contenu 17">
            <a:extLst>
              <a:ext uri="{FF2B5EF4-FFF2-40B4-BE49-F238E27FC236}">
                <a16:creationId xmlns:a16="http://schemas.microsoft.com/office/drawing/2014/main" id="{9F2D4ABE-1499-45E1-BE05-9176C5FF4D66}"/>
              </a:ext>
            </a:extLst>
          </p:cNvPr>
          <p:cNvSpPr txBox="1">
            <a:spLocks/>
          </p:cNvSpPr>
          <p:nvPr/>
        </p:nvSpPr>
        <p:spPr>
          <a:xfrm>
            <a:off x="204976" y="5663293"/>
            <a:ext cx="1082930" cy="1937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écificité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27" name="Image 26" descr="Une image contenant extérieur, ciel, bâtiment, maison&#10;&#10;Description générée automatiquement">
            <a:extLst>
              <a:ext uri="{FF2B5EF4-FFF2-40B4-BE49-F238E27FC236}">
                <a16:creationId xmlns:a16="http://schemas.microsoft.com/office/drawing/2014/main" id="{240954A8-91C8-4D1B-A37E-7FC13139F20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403" t="9215" r="15338" b="7928"/>
          <a:stretch/>
        </p:blipFill>
        <p:spPr>
          <a:xfrm>
            <a:off x="2900428" y="1911706"/>
            <a:ext cx="1719980" cy="2442371"/>
          </a:xfrm>
          <a:prstGeom prst="rect">
            <a:avLst/>
          </a:prstGeom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id="{0CD0C940-48C2-42F4-B360-620F670638D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005" t="104" r="-864" b="6068"/>
          <a:stretch/>
        </p:blipFill>
        <p:spPr>
          <a:xfrm>
            <a:off x="1176875" y="1911669"/>
            <a:ext cx="1657330" cy="2441168"/>
          </a:xfrm>
          <a:prstGeom prst="rect">
            <a:avLst/>
          </a:prstGeom>
        </p:spPr>
      </p:pic>
      <p:pic>
        <p:nvPicPr>
          <p:cNvPr id="29" name="Image 28" descr="Une image contenant extérieur, bâtiment, ciel, voiture&#10;&#10;Description générée automatiquement">
            <a:extLst>
              <a:ext uri="{FF2B5EF4-FFF2-40B4-BE49-F238E27FC236}">
                <a16:creationId xmlns:a16="http://schemas.microsoft.com/office/drawing/2014/main" id="{BAE707F6-8095-4E34-B8E7-EBE7F201FB6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6846" r="16537" b="2986"/>
          <a:stretch/>
        </p:blipFill>
        <p:spPr>
          <a:xfrm>
            <a:off x="8274709" y="1911705"/>
            <a:ext cx="1564812" cy="2442371"/>
          </a:xfrm>
          <a:prstGeom prst="rect">
            <a:avLst/>
          </a:prstGeom>
        </p:spPr>
      </p:pic>
      <p:pic>
        <p:nvPicPr>
          <p:cNvPr id="30" name="Image 29" descr="Une image contenant extérieur, bâtiment, ciel, maison&#10;&#10;Description générée automatiquement">
            <a:extLst>
              <a:ext uri="{FF2B5EF4-FFF2-40B4-BE49-F238E27FC236}">
                <a16:creationId xmlns:a16="http://schemas.microsoft.com/office/drawing/2014/main" id="{88BE9B58-CEFB-4DFD-A5C5-1A514F6EDE2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14884" b="9394"/>
          <a:stretch/>
        </p:blipFill>
        <p:spPr>
          <a:xfrm>
            <a:off x="9902856" y="1904804"/>
            <a:ext cx="1719980" cy="2441165"/>
          </a:xfrm>
          <a:prstGeom prst="rect">
            <a:avLst/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B8CBD8E0-18D1-44A7-BEAC-3F6D43D4531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94919" y="1912921"/>
            <a:ext cx="1719980" cy="2442371"/>
          </a:xfrm>
          <a:prstGeom prst="rect">
            <a:avLst/>
          </a:prstGeom>
        </p:spPr>
      </p:pic>
      <p:pic>
        <p:nvPicPr>
          <p:cNvPr id="32" name="Image 31">
            <a:extLst>
              <a:ext uri="{FF2B5EF4-FFF2-40B4-BE49-F238E27FC236}">
                <a16:creationId xmlns:a16="http://schemas.microsoft.com/office/drawing/2014/main" id="{0B085AB2-9E9A-4A85-BBDF-483D890E932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5133" r="10060" b="14787"/>
          <a:stretch/>
        </p:blipFill>
        <p:spPr>
          <a:xfrm>
            <a:off x="6489747" y="1911766"/>
            <a:ext cx="1719982" cy="2441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361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Espace réservé du contenu 17">
            <a:extLst>
              <a:ext uri="{FF2B5EF4-FFF2-40B4-BE49-F238E27FC236}">
                <a16:creationId xmlns:a16="http://schemas.microsoft.com/office/drawing/2014/main" id="{E98EEC0C-C9C8-483B-85B9-77659FFABF87}"/>
              </a:ext>
            </a:extLst>
          </p:cNvPr>
          <p:cNvSpPr txBox="1">
            <a:spLocks/>
          </p:cNvSpPr>
          <p:nvPr/>
        </p:nvSpPr>
        <p:spPr>
          <a:xfrm>
            <a:off x="513446" y="4786754"/>
            <a:ext cx="7724780" cy="67738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D24726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’inscrit dans la volonté initiale des architectes de valoriser la façade à ru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D24726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pporte une dimension écologique au projet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D24726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aintient d’une cohérence architecturale avec le projet de rénovation du Foyer Anderlechtois</a:t>
            </a:r>
          </a:p>
        </p:txBody>
      </p:sp>
      <p:sp>
        <p:nvSpPr>
          <p:cNvPr id="33" name="Espace réservé du contenu 17">
            <a:extLst>
              <a:ext uri="{FF2B5EF4-FFF2-40B4-BE49-F238E27FC236}">
                <a16:creationId xmlns:a16="http://schemas.microsoft.com/office/drawing/2014/main" id="{43F79B51-2537-4482-8933-0887A67B68C8}"/>
              </a:ext>
            </a:extLst>
          </p:cNvPr>
          <p:cNvSpPr txBox="1">
            <a:spLocks/>
          </p:cNvSpPr>
          <p:nvPr/>
        </p:nvSpPr>
        <p:spPr>
          <a:xfrm>
            <a:off x="541610" y="5562582"/>
            <a:ext cx="8559656" cy="2300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olutions :</a:t>
            </a:r>
          </a:p>
        </p:txBody>
      </p:sp>
      <p:sp>
        <p:nvSpPr>
          <p:cNvPr id="34" name="Espace réservé du contenu 17">
            <a:extLst>
              <a:ext uri="{FF2B5EF4-FFF2-40B4-BE49-F238E27FC236}">
                <a16:creationId xmlns:a16="http://schemas.microsoft.com/office/drawing/2014/main" id="{7B747B9A-4261-442E-9762-EF07827F355B}"/>
              </a:ext>
            </a:extLst>
          </p:cNvPr>
          <p:cNvSpPr txBox="1">
            <a:spLocks/>
          </p:cNvSpPr>
          <p:nvPr/>
        </p:nvSpPr>
        <p:spPr>
          <a:xfrm>
            <a:off x="513446" y="5776635"/>
            <a:ext cx="7724780" cy="67738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D24726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Nécessite une installation de chantier moins importante et propre à chaque habitation 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D24726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ermet la standardisation grâce à l’étude de cas type</a:t>
            </a:r>
          </a:p>
        </p:txBody>
      </p:sp>
      <p:pic>
        <p:nvPicPr>
          <p:cNvPr id="36" name="Image 35">
            <a:extLst>
              <a:ext uri="{FF2B5EF4-FFF2-40B4-BE49-F238E27FC236}">
                <a16:creationId xmlns:a16="http://schemas.microsoft.com/office/drawing/2014/main" id="{35D44B56-8CFC-4703-A81F-919E9800F2C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573" b="7358"/>
          <a:stretch/>
        </p:blipFill>
        <p:spPr>
          <a:xfrm>
            <a:off x="612475" y="1355596"/>
            <a:ext cx="10981427" cy="3303917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3763A3DE-AA8D-49DE-B6DD-6CDD30BFCC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98136" y="4786754"/>
            <a:ext cx="3195765" cy="1667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576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6" name="Google Shape;746;p17"/>
          <p:cNvSpPr txBox="1">
            <a:spLocks noGrp="1"/>
          </p:cNvSpPr>
          <p:nvPr>
            <p:ph type="title"/>
          </p:nvPr>
        </p:nvSpPr>
        <p:spPr>
          <a:xfrm>
            <a:off x="839791" y="2084822"/>
            <a:ext cx="3960065" cy="323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fr-BE" sz="3600"/>
              <a:t>Maximiser l’accessibilité financière de la rénovation globale</a:t>
            </a:r>
            <a:endParaRPr sz="3600"/>
          </a:p>
        </p:txBody>
      </p:sp>
      <p:sp>
        <p:nvSpPr>
          <p:cNvPr id="747" name="Google Shape;747;p17"/>
          <p:cNvSpPr txBox="1"/>
          <p:nvPr/>
        </p:nvSpPr>
        <p:spPr>
          <a:xfrm>
            <a:off x="5536013" y="1849618"/>
            <a:ext cx="6194071" cy="37729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2500" lnSpcReduction="10000"/>
          </a:bodyPr>
          <a:lstStyle/>
          <a:p>
            <a:pPr marL="685800" marR="0" lvl="0" indent="-6858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97297"/>
              <a:buFont typeface="Arial"/>
              <a:buChar char="•"/>
            </a:pPr>
            <a:r>
              <a:rPr lang="fr-BE"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Eclairer sur les options de financement</a:t>
            </a:r>
            <a:endParaRPr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7297"/>
              <a:buFont typeface="Arial"/>
              <a:buChar char="•"/>
            </a:pPr>
            <a:r>
              <a:rPr lang="fr-BE"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Prémâcher les </a:t>
            </a:r>
            <a:r>
              <a:rPr lang="fr-BE" sz="2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démarches de primes</a:t>
            </a:r>
            <a:endParaRPr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7297"/>
              <a:buFont typeface="Arial"/>
              <a:buChar char="•"/>
            </a:pPr>
            <a:r>
              <a:rPr lang="fr-BE"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Encourager les acteurs publics et privés à </a:t>
            </a:r>
            <a:r>
              <a:rPr lang="fr-BE" sz="2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expérimenter des solutions innovantes</a:t>
            </a:r>
            <a:r>
              <a:rPr lang="fr-BE"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 en profitant de ce laboratoire ! </a:t>
            </a:r>
            <a:r>
              <a:rPr lang="fr-BE" sz="2000" b="0" i="0" u="none" strike="noStrike" cap="none">
                <a:solidFill>
                  <a:schemeClr val="dk1"/>
                </a:solidFill>
                <a:highlight>
                  <a:srgbClr val="FFFF00"/>
                </a:highlight>
                <a:latin typeface="Trebuchet MS"/>
                <a:ea typeface="Trebuchet MS"/>
                <a:cs typeface="Trebuchet MS"/>
                <a:sym typeface="Trebuchet MS"/>
              </a:rPr>
              <a:t>&gt; Rôle de l’Alliance</a:t>
            </a:r>
            <a:endParaRPr sz="2000" b="1" i="0" u="none" strike="noStrike" cap="none">
              <a:solidFill>
                <a:schemeClr val="dk1"/>
              </a:solidFill>
              <a:highlight>
                <a:srgbClr val="FFFF00"/>
              </a:highlight>
              <a:latin typeface="Trebuchet MS"/>
              <a:ea typeface="Trebuchet MS"/>
              <a:cs typeface="Trebuchet MS"/>
              <a:sym typeface="Trebuchet MS"/>
            </a:endParaRP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2000"/>
              </a:spcAft>
              <a:buClr>
                <a:schemeClr val="dk1"/>
              </a:buClr>
              <a:buSzPct val="97297"/>
              <a:buFont typeface="Arial"/>
              <a:buChar char="•"/>
            </a:pPr>
            <a:r>
              <a:rPr lang="fr-BE" sz="2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Concevoir une solution inclusive de financement de la rénovation collective (par Triodos)</a:t>
            </a:r>
            <a:endParaRPr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2" name="Google Shape;752;p18"/>
          <p:cNvSpPr/>
          <p:nvPr/>
        </p:nvSpPr>
        <p:spPr>
          <a:xfrm>
            <a:off x="359923" y="778213"/>
            <a:ext cx="1332690" cy="640187"/>
          </a:xfrm>
          <a:prstGeom prst="rect">
            <a:avLst/>
          </a:prstGeom>
          <a:solidFill>
            <a:schemeClr val="lt1"/>
          </a:solidFill>
          <a:ln w="25400" cap="flat" cmpd="sng">
            <a:solidFill>
              <a:schemeClr val="lt1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3" name="Google Shape;753;p18"/>
          <p:cNvSpPr txBox="1"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</a:pPr>
            <a:r>
              <a:rPr lang="fr-BE" sz="4000" b="1"/>
              <a:t>Il est nécessaire d’apporter des solutions pour le financement de la rénovation globale</a:t>
            </a:r>
            <a:endParaRPr/>
          </a:p>
        </p:txBody>
      </p:sp>
      <p:sp>
        <p:nvSpPr>
          <p:cNvPr id="754" name="Google Shape;754;p18"/>
          <p:cNvSpPr txBox="1">
            <a:spLocks noGrp="1"/>
          </p:cNvSpPr>
          <p:nvPr>
            <p:ph type="body" idx="1"/>
          </p:nvPr>
        </p:nvSpPr>
        <p:spPr>
          <a:xfrm>
            <a:off x="359923" y="1849617"/>
            <a:ext cx="5155052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 fontScale="92500"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fr-BE" sz="1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imes RENOLUTION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dirty="0"/>
          </a:p>
          <a:p>
            <a:pPr marL="285750" indent="-285750">
              <a:lnSpc>
                <a:spcPct val="100000"/>
              </a:lnSpc>
              <a:spcBef>
                <a:spcPts val="0"/>
              </a:spcBef>
            </a:pPr>
            <a:r>
              <a:rPr lang="fr-BE" sz="1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ntants élevés</a:t>
            </a:r>
            <a:r>
              <a:rPr lang="fr-BE" sz="1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, surtout pour catégories II et III</a:t>
            </a:r>
            <a:endParaRPr dirty="0"/>
          </a:p>
          <a:p>
            <a:pPr marL="285750" indent="-285750">
              <a:lnSpc>
                <a:spcPct val="100000"/>
              </a:lnSpc>
              <a:spcBef>
                <a:spcPts val="0"/>
              </a:spcBef>
            </a:pPr>
            <a:r>
              <a:rPr lang="fr-BE" sz="1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adre favorable à la rénovation globale </a:t>
            </a:r>
            <a:br>
              <a:rPr lang="fr-BE" sz="1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fr-BE" sz="1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(prime à l’audit et à l’accompagnement archi, bonus bouquet de travaux)</a:t>
            </a:r>
            <a:endParaRPr dirty="0"/>
          </a:p>
          <a:p>
            <a:pPr marL="285750" indent="-285750">
              <a:lnSpc>
                <a:spcPct val="100000"/>
              </a:lnSpc>
              <a:spcBef>
                <a:spcPts val="0"/>
              </a:spcBef>
            </a:pPr>
            <a:r>
              <a:rPr lang="fr-BE" sz="1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ime totem et éligibilité des propriétaires bailleurs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IE" sz="1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dirty="0"/>
          </a:p>
          <a:p>
            <a:pPr marL="285750" indent="-285750">
              <a:lnSpc>
                <a:spcPct val="100000"/>
              </a:lnSpc>
              <a:spcBef>
                <a:spcPts val="0"/>
              </a:spcBef>
            </a:pPr>
            <a:r>
              <a:rPr lang="fr-BE" sz="1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ibérable après réalisation</a:t>
            </a:r>
            <a:r>
              <a:rPr lang="fr-BE" sz="1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br>
              <a:rPr lang="fr-BE" sz="1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fr-BE" sz="1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=&gt; accessibilité réduite</a:t>
            </a:r>
            <a:endParaRPr dirty="0"/>
          </a:p>
          <a:p>
            <a:pPr marL="285750" indent="-285750">
              <a:lnSpc>
                <a:spcPct val="100000"/>
              </a:lnSpc>
              <a:spcBef>
                <a:spcPts val="0"/>
              </a:spcBef>
            </a:pPr>
            <a:r>
              <a:rPr lang="fr-BE" sz="1800" b="1" i="0" u="none" strike="noStrike" cap="none" dirty="0">
                <a:solidFill>
                  <a:schemeClr val="dk1"/>
                </a:solidFill>
                <a:sym typeface="Arial"/>
              </a:rPr>
              <a:t>Pas de combinaison avec le prêt vert </a:t>
            </a:r>
            <a:endParaRPr b="1" dirty="0"/>
          </a:p>
          <a:p>
            <a:pPr marL="285750" indent="-285750">
              <a:lnSpc>
                <a:spcPct val="100000"/>
              </a:lnSpc>
              <a:spcBef>
                <a:spcPts val="0"/>
              </a:spcBef>
            </a:pPr>
            <a:r>
              <a:rPr lang="fr-BE" sz="1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nditionnement à rester domicilié pendant 5 ans est un frein avec la mobilité des ménages</a:t>
            </a:r>
            <a:endParaRPr dirty="0"/>
          </a:p>
        </p:txBody>
      </p:sp>
      <p:sp>
        <p:nvSpPr>
          <p:cNvPr id="755" name="Google Shape;755;p18"/>
          <p:cNvSpPr txBox="1">
            <a:spLocks noGrp="1"/>
          </p:cNvSpPr>
          <p:nvPr>
            <p:ph type="body" idx="1"/>
          </p:nvPr>
        </p:nvSpPr>
        <p:spPr>
          <a:xfrm>
            <a:off x="5901179" y="1849616"/>
            <a:ext cx="5976593" cy="4734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/>
          <a:p>
            <a:pPr marL="457200" lvl="1" indent="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800"/>
              <a:buFont typeface="Arial"/>
              <a:buNone/>
            </a:pPr>
            <a:r>
              <a:rPr lang="fr-BE" sz="1800" b="1" dirty="0"/>
              <a:t>Objectifs :</a:t>
            </a:r>
            <a:br>
              <a:rPr lang="fr-BE" sz="1800" b="1" dirty="0"/>
            </a:br>
            <a:r>
              <a:rPr lang="fr-BE" sz="1800" b="1" dirty="0"/>
              <a:t>&gt; rénovation globale à 150-200€/mois </a:t>
            </a:r>
            <a:br>
              <a:rPr lang="fr-BE" sz="1800" b="1" dirty="0"/>
            </a:br>
            <a:r>
              <a:rPr lang="fr-BE" sz="1800" b="1" dirty="0"/>
              <a:t>&gt; avec des solutions transférables</a:t>
            </a:r>
            <a:endParaRPr lang="fr-BE" dirty="0"/>
          </a:p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fr-BE" sz="18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fr-BE" sz="1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ne solution de financement </a:t>
            </a:r>
            <a:r>
              <a:rPr lang="fr-BE" sz="1800" b="1" dirty="0"/>
              <a:t>prête pour juin</a:t>
            </a:r>
            <a:r>
              <a:rPr lang="fr-BE" sz="1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2022 ?</a:t>
            </a:r>
            <a:endParaRPr dirty="0"/>
          </a:p>
          <a:p>
            <a:pPr marL="285750" indent="-285750">
              <a:lnSpc>
                <a:spcPct val="120000"/>
              </a:lnSpc>
              <a:spcBef>
                <a:spcPts val="0"/>
              </a:spcBef>
            </a:pPr>
            <a:r>
              <a:rPr lang="fr-BE" sz="1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êt vert </a:t>
            </a:r>
            <a:r>
              <a:rPr lang="fr-BE" sz="1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: Rehausser le plafond, préfinancement des primes, inclure l’ensemble des coûts de la rénovation</a:t>
            </a:r>
            <a:endParaRPr dirty="0"/>
          </a:p>
          <a:p>
            <a:pPr marL="285750" indent="-285750">
              <a:lnSpc>
                <a:spcPct val="120000"/>
              </a:lnSpc>
              <a:spcBef>
                <a:spcPts val="0"/>
              </a:spcBef>
            </a:pPr>
            <a:r>
              <a:rPr lang="fr-BE" sz="1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oposer un produit public ou une garantie de la région </a:t>
            </a:r>
            <a:r>
              <a:rPr lang="fr-BE" sz="1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our encourager l’émergence de produits privés</a:t>
            </a:r>
            <a:endParaRPr dirty="0"/>
          </a:p>
          <a:p>
            <a:pPr marL="457200" lvl="2" indent="0">
              <a:lnSpc>
                <a:spcPct val="120000"/>
              </a:lnSpc>
              <a:buNone/>
            </a:pPr>
            <a:r>
              <a:rPr lang="fr-BE" sz="1200" b="1" dirty="0"/>
              <a:t>« prêt avance mutation »/« prêt sans remboursement »</a:t>
            </a:r>
            <a:r>
              <a:rPr lang="fr-BE" sz="1200" dirty="0"/>
              <a:t> </a:t>
            </a:r>
            <a:br>
              <a:rPr lang="fr-BE" sz="1200" dirty="0"/>
            </a:br>
            <a:r>
              <a:rPr lang="fr-BE" sz="1200" dirty="0"/>
              <a:t>(le prêt est remboursé au moment de la revente)</a:t>
            </a:r>
            <a:endParaRPr dirty="0"/>
          </a:p>
          <a:p>
            <a:pPr marL="457200" lvl="2" indent="0">
              <a:lnSpc>
                <a:spcPct val="120000"/>
              </a:lnSpc>
              <a:buNone/>
            </a:pPr>
            <a:r>
              <a:rPr lang="fr-BE" sz="1200" dirty="0"/>
              <a:t>financement </a:t>
            </a:r>
            <a:r>
              <a:rPr lang="fr-BE" sz="1200" b="1" dirty="0"/>
              <a:t>attaché à la pierre</a:t>
            </a:r>
            <a:endParaRPr sz="1000" b="1" dirty="0"/>
          </a:p>
          <a:p>
            <a:pPr marL="285750" indent="-285750">
              <a:lnSpc>
                <a:spcPct val="120000"/>
              </a:lnSpc>
              <a:spcBef>
                <a:spcPts val="0"/>
              </a:spcBef>
            </a:pPr>
            <a:r>
              <a:rPr lang="fr-BE" sz="1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 minima, le faire en profitant de ce cadre pilote</a:t>
            </a:r>
            <a:endParaRPr dirty="0"/>
          </a:p>
        </p:txBody>
      </p:sp>
      <p:pic>
        <p:nvPicPr>
          <p:cNvPr id="756" name="Google Shape;756;p18" descr="Thumbs up sign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59923" y="2160954"/>
            <a:ext cx="421448" cy="421448"/>
          </a:xfrm>
          <a:prstGeom prst="rect">
            <a:avLst/>
          </a:prstGeom>
          <a:noFill/>
          <a:ln>
            <a:noFill/>
          </a:ln>
        </p:spPr>
      </p:pic>
      <p:pic>
        <p:nvPicPr>
          <p:cNvPr id="757" name="Google Shape;757;p18" descr="Thumbs Down with solid fill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59923" y="4069887"/>
            <a:ext cx="414328" cy="41432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43A35DB-A3EF-40F6-B81C-272739187F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9235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43A35DB-A3EF-40F6-B81C-272739187F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2" name="Google Shape;712;p13"/>
          <p:cNvSpPr txBox="1">
            <a:spLocks noGrp="1"/>
          </p:cNvSpPr>
          <p:nvPr>
            <p:ph type="title"/>
          </p:nvPr>
        </p:nvSpPr>
        <p:spPr>
          <a:xfrm>
            <a:off x="461917" y="2084822"/>
            <a:ext cx="4337940" cy="323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fr-BE" sz="3600" dirty="0"/>
              <a:t>Sur le plan du financement, nous réalisons l’état de la situation</a:t>
            </a:r>
            <a:endParaRPr sz="3600" dirty="0"/>
          </a:p>
        </p:txBody>
      </p:sp>
      <p:sp>
        <p:nvSpPr>
          <p:cNvPr id="713" name="Google Shape;713;p13"/>
          <p:cNvSpPr txBox="1"/>
          <p:nvPr/>
        </p:nvSpPr>
        <p:spPr>
          <a:xfrm>
            <a:off x="5536013" y="659877"/>
            <a:ext cx="6194071" cy="60991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32500" lnSpcReduction="20000"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Trebuchet MS"/>
              <a:buNone/>
            </a:pPr>
            <a:r>
              <a:rPr lang="fr-BE" sz="48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Déjà réalisé : </a:t>
            </a:r>
            <a:endParaRPr dirty="0"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b="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Diagnostic des capacités financières des participants</a:t>
            </a: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b="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Simulateur de primes </a:t>
            </a:r>
            <a:r>
              <a:rPr lang="fr-BE" sz="4800" b="0" i="0" u="none" strike="noStrike" cap="none" dirty="0" err="1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Rénolution</a:t>
            </a:r>
            <a:endParaRPr lang="fr-BE" sz="4800" dirty="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Scan des options de financement </a:t>
            </a: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Cadrage du livrable de </a:t>
            </a:r>
            <a:r>
              <a:rPr lang="fr-BE" sz="4800" dirty="0" err="1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Triodos</a:t>
            </a:r>
            <a:endParaRPr lang="fr-BE" sz="4800" dirty="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  <a:p>
            <a:pPr marR="0" lvl="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</a:pPr>
            <a:r>
              <a:rPr lang="fr-BE" sz="48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A réaliser :</a:t>
            </a: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 panose="020B0604020202020204" pitchFamily="34" charset="0"/>
              <a:buChar char="•"/>
            </a:pPr>
            <a:r>
              <a:rPr lang="fr-BE" sz="4800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Identifier les plans financiers </a:t>
            </a:r>
            <a:br>
              <a:rPr lang="fr-BE" sz="4800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</a:br>
            <a:r>
              <a:rPr lang="fr-BE" sz="4800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par typologies de bâtiment et profil de revenu</a:t>
            </a: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 panose="020B0604020202020204" pitchFamily="34" charset="0"/>
              <a:buChar char="•"/>
            </a:pPr>
            <a:r>
              <a:rPr lang="fr-BE" sz="480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Pousser les acteurs publics et privés à proposer des solutions adaptées </a:t>
            </a: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 panose="020B0604020202020204" pitchFamily="34" charset="0"/>
              <a:buChar char="•"/>
            </a:pPr>
            <a:r>
              <a:rPr lang="fr-BE" sz="4800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Poursuivre l’étude de ce que l’approche collective rend possible, et l’identification des besoins pour permettre la mise en œuvre d’une solution innovante</a:t>
            </a:r>
            <a:endParaRPr lang="fr-BE" sz="4800" i="0" u="none" strike="noStrike" cap="none" dirty="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5298542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2" name="Google Shape;762;p19"/>
          <p:cNvSpPr txBox="1">
            <a:spLocks noGrp="1"/>
          </p:cNvSpPr>
          <p:nvPr>
            <p:ph type="title"/>
          </p:nvPr>
        </p:nvSpPr>
        <p:spPr>
          <a:xfrm>
            <a:off x="377073" y="1849617"/>
            <a:ext cx="4769962" cy="323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fr-BE" sz="3600"/>
              <a:t>L’échelle du quartier permet l’optimum entre efficacité énergétique et énergie renouvelable</a:t>
            </a:r>
            <a:endParaRPr sz="3600"/>
          </a:p>
        </p:txBody>
      </p:sp>
      <p:sp>
        <p:nvSpPr>
          <p:cNvPr id="763" name="Google Shape;763;p19"/>
          <p:cNvSpPr txBox="1"/>
          <p:nvPr/>
        </p:nvSpPr>
        <p:spPr>
          <a:xfrm>
            <a:off x="5536013" y="1849617"/>
            <a:ext cx="6194071" cy="45700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85000" lnSpcReduction="20000"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5882"/>
              <a:buFont typeface="Trebuchet MS"/>
              <a:buNone/>
            </a:pPr>
            <a:r>
              <a:rPr lang="fr-BE"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Dans ce projet :</a:t>
            </a:r>
            <a:endParaRPr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105882"/>
              <a:buFont typeface="Arial"/>
              <a:buChar char="•"/>
            </a:pPr>
            <a:r>
              <a:rPr lang="fr-BE" sz="2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Schéma directeur </a:t>
            </a:r>
            <a:r>
              <a:rPr lang="fr-BE"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pour réseaux de chaleur</a:t>
            </a:r>
            <a:endParaRPr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105882"/>
              <a:buFont typeface="Arial"/>
              <a:buChar char="•"/>
            </a:pPr>
            <a:r>
              <a:rPr lang="fr-BE" sz="20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Études de préfaisabilité</a:t>
            </a:r>
            <a:endParaRPr/>
          </a:p>
          <a:p>
            <a:pPr marL="0" marR="0" lvl="0" indent="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105882"/>
              <a:buFont typeface="Trebuchet MS"/>
              <a:buNone/>
            </a:pPr>
            <a:r>
              <a:rPr lang="fr-BE"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Projets de suivi :</a:t>
            </a:r>
            <a:endParaRPr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105882"/>
              <a:buFont typeface="Arial"/>
              <a:buChar char="•"/>
            </a:pPr>
            <a:r>
              <a:rPr lang="fr-BE"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Tenir compte de l’optimum EE/SER</a:t>
            </a:r>
            <a:endParaRPr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105882"/>
              <a:buFont typeface="Arial"/>
              <a:buChar char="•"/>
            </a:pPr>
            <a:r>
              <a:rPr lang="fr-BE"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Business model pour le réseau de chaleur et plan de déploiement</a:t>
            </a:r>
            <a:endParaRPr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105882"/>
              <a:buFont typeface="Arial"/>
              <a:buChar char="•"/>
            </a:pPr>
            <a:r>
              <a:rPr lang="fr-BE"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Modèles de copropriété</a:t>
            </a:r>
            <a:endParaRPr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2000"/>
              </a:spcAft>
              <a:buClr>
                <a:schemeClr val="dk1"/>
              </a:buClr>
              <a:buSzPct val="105882"/>
              <a:buFont typeface="Arial"/>
              <a:buChar char="•"/>
            </a:pPr>
            <a:r>
              <a:rPr lang="fr-BE"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Implémentation</a:t>
            </a:r>
            <a:endParaRPr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15EBDF8-B7A3-4386-A5DF-542969A6AA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6118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2" name="Google Shape;762;p19"/>
          <p:cNvSpPr txBox="1">
            <a:spLocks noGrp="1"/>
          </p:cNvSpPr>
          <p:nvPr>
            <p:ph type="title"/>
          </p:nvPr>
        </p:nvSpPr>
        <p:spPr>
          <a:xfrm>
            <a:off x="377073" y="1849617"/>
            <a:ext cx="4769962" cy="323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fr-BE" sz="3600" dirty="0"/>
              <a:t>Réseau de chaleur : collecte de données et perspectives d’implémentation</a:t>
            </a:r>
            <a:endParaRPr sz="3600" dirty="0"/>
          </a:p>
        </p:txBody>
      </p:sp>
      <p:sp>
        <p:nvSpPr>
          <p:cNvPr id="763" name="Google Shape;763;p19"/>
          <p:cNvSpPr txBox="1"/>
          <p:nvPr/>
        </p:nvSpPr>
        <p:spPr>
          <a:xfrm>
            <a:off x="5536013" y="1849617"/>
            <a:ext cx="6194071" cy="45700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92500" lnSpcReduction="20000"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5882"/>
              <a:buFont typeface="Trebuchet MS"/>
              <a:buNone/>
            </a:pPr>
            <a:r>
              <a:rPr lang="fr-BE" sz="2000" b="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Déjà réalisé :</a:t>
            </a:r>
            <a:endParaRPr dirty="0"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105882"/>
              <a:buFont typeface="Arial"/>
              <a:buChar char="•"/>
            </a:pPr>
            <a:r>
              <a:rPr lang="fr-BE" sz="20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Échanges multiples pour collecte des données </a:t>
            </a:r>
            <a:br>
              <a:rPr lang="fr-BE" sz="20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</a:br>
            <a:r>
              <a:rPr lang="fr-BE" sz="200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(dont Sibelga)</a:t>
            </a:r>
            <a:endParaRPr dirty="0"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105882"/>
              <a:buFont typeface="Arial"/>
              <a:buChar char="•"/>
            </a:pPr>
            <a:r>
              <a:rPr lang="fr-BE" sz="200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Dialogue avec le FA pour les engager dans la démarche</a:t>
            </a: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105882"/>
              <a:buFont typeface="Arial"/>
              <a:buChar char="•"/>
            </a:pPr>
            <a:r>
              <a:rPr lang="fr-BE" sz="200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Contours de projets de suivi vers l’implémentation</a:t>
            </a:r>
            <a:endParaRPr dirty="0"/>
          </a:p>
          <a:p>
            <a:pPr marL="0" marR="0" lvl="0" indent="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105882"/>
              <a:buFont typeface="Trebuchet MS"/>
              <a:buNone/>
            </a:pPr>
            <a:r>
              <a:rPr lang="fr-BE" sz="2000" b="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A réaliser :</a:t>
            </a:r>
            <a:endParaRPr dirty="0"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105882"/>
              <a:buFont typeface="Arial"/>
              <a:buChar char="•"/>
            </a:pPr>
            <a:r>
              <a:rPr lang="fr-BE" sz="2000" b="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Poursuivre la collecte de données</a:t>
            </a:r>
            <a:endParaRPr dirty="0"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105882"/>
              <a:buFont typeface="Arial"/>
              <a:buChar char="•"/>
            </a:pPr>
            <a:r>
              <a:rPr lang="fr-BE" sz="2000" b="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Elaborer le schéma directeu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0013978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" name="Google Shape;768;p20"/>
          <p:cNvSpPr txBox="1">
            <a:spLocks noGrp="1"/>
          </p:cNvSpPr>
          <p:nvPr>
            <p:ph type="title"/>
          </p:nvPr>
        </p:nvSpPr>
        <p:spPr>
          <a:xfrm>
            <a:off x="839791" y="2084822"/>
            <a:ext cx="3960065" cy="323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fr-BE" sz="3600"/>
              <a:t>Un monitoring des résultats pour assurer la qualité de laboratoire</a:t>
            </a:r>
            <a:endParaRPr sz="3600"/>
          </a:p>
        </p:txBody>
      </p:sp>
      <p:sp>
        <p:nvSpPr>
          <p:cNvPr id="769" name="Google Shape;769;p20"/>
          <p:cNvSpPr txBox="1"/>
          <p:nvPr/>
        </p:nvSpPr>
        <p:spPr>
          <a:xfrm>
            <a:off x="5536013" y="1849618"/>
            <a:ext cx="6194071" cy="37729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685800" marR="0" lvl="0" indent="-6858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fr-BE"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Impacts environnementaux</a:t>
            </a:r>
            <a:endParaRPr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fr-BE"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Impacts socio-économiques</a:t>
            </a:r>
            <a:endParaRPr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fr-BE"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Impacts sur la qualité du logement</a:t>
            </a:r>
            <a:endParaRPr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200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fr-BE"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Analyse des conditions de réplicabilité</a:t>
            </a:r>
            <a:endParaRPr sz="2000" b="1" i="0" u="none" strike="noStrike" cap="none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CD6BA30-A64A-435C-B17F-DDF33D58F0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4708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8" name="Google Shape;768;p20"/>
          <p:cNvSpPr txBox="1">
            <a:spLocks noGrp="1"/>
          </p:cNvSpPr>
          <p:nvPr>
            <p:ph type="title"/>
          </p:nvPr>
        </p:nvSpPr>
        <p:spPr>
          <a:xfrm>
            <a:off x="839791" y="2084822"/>
            <a:ext cx="3960065" cy="323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fr-BE" sz="3600" dirty="0"/>
              <a:t>Assurer une conduite efficace et efficiente du projet</a:t>
            </a:r>
            <a:endParaRPr sz="3600" dirty="0"/>
          </a:p>
        </p:txBody>
      </p:sp>
      <p:sp>
        <p:nvSpPr>
          <p:cNvPr id="769" name="Google Shape;769;p20"/>
          <p:cNvSpPr txBox="1"/>
          <p:nvPr/>
        </p:nvSpPr>
        <p:spPr>
          <a:xfrm>
            <a:off x="5536013" y="1849618"/>
            <a:ext cx="6194071" cy="37729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685800" marR="0" lvl="0" indent="-6858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fr-BE" sz="2000" b="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Coordination de projet</a:t>
            </a:r>
          </a:p>
          <a:p>
            <a:pPr marL="685800" marR="0" lvl="0" indent="-6858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fr-BE" sz="20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Contrôle qualité, suivi et évaluation</a:t>
            </a:r>
            <a:endParaRPr lang="fr-BE" sz="2000" dirty="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  <a:p>
            <a:pPr marL="685800" marR="0" lvl="0" indent="-6858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fr-BE" sz="20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Gestion financière</a:t>
            </a:r>
            <a:endParaRPr sz="2000" b="1" i="0" u="none" strike="noStrike" cap="none" dirty="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06784491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49065FC-66CA-447A-B323-F1CBE9C35B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7697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49065FC-66CA-447A-B323-F1CBE9C35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8" name="Google Shape;768;p20"/>
          <p:cNvSpPr txBox="1">
            <a:spLocks noGrp="1"/>
          </p:cNvSpPr>
          <p:nvPr>
            <p:ph type="title"/>
          </p:nvPr>
        </p:nvSpPr>
        <p:spPr>
          <a:xfrm>
            <a:off x="839791" y="2084822"/>
            <a:ext cx="3960065" cy="323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fr-FR" sz="3600" dirty="0"/>
              <a:t>La mise sur rail du projet et du consortium est ce qui nous a pris le plus de temps</a:t>
            </a:r>
          </a:p>
        </p:txBody>
      </p:sp>
      <p:sp>
        <p:nvSpPr>
          <p:cNvPr id="769" name="Google Shape;769;p20"/>
          <p:cNvSpPr txBox="1"/>
          <p:nvPr/>
        </p:nvSpPr>
        <p:spPr>
          <a:xfrm>
            <a:off x="5536013" y="1849618"/>
            <a:ext cx="6194071" cy="37729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685800" marR="0" lvl="0" indent="-685800" algn="l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fr-FR" sz="20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Cadrage des contributions de chacun</a:t>
            </a:r>
            <a:endParaRPr lang="fr-FR" dirty="0"/>
          </a:p>
          <a:p>
            <a:pPr marL="685800" marR="0" lvl="0" indent="-685800" algn="l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fr-FR" sz="20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Conventions de partenariats</a:t>
            </a:r>
            <a:endParaRPr lang="fr-FR" dirty="0"/>
          </a:p>
          <a:p>
            <a:pPr marL="685800" marR="0" lvl="0" indent="-685800" algn="l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fr-FR" sz="20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Mobilisation et communication avec les parties prenantes, dont les GT de l’alliance</a:t>
            </a:r>
          </a:p>
          <a:p>
            <a:pPr marL="685800" marR="0" lvl="0" indent="-685800" algn="l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fr-FR" sz="2000" b="1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Procédure de recrutement d’un administratif dans l’ASBL</a:t>
            </a:r>
            <a:endParaRPr lang="fr-FR" sz="2000" i="0" u="none" strike="noStrike" cap="none" dirty="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9690113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8" name="Google Shape;568;p4"/>
          <p:cNvSpPr txBox="1">
            <a:spLocks noGrp="1"/>
          </p:cNvSpPr>
          <p:nvPr>
            <p:ph type="title"/>
          </p:nvPr>
        </p:nvSpPr>
        <p:spPr>
          <a:xfrm>
            <a:off x="839791" y="2084822"/>
            <a:ext cx="3960065" cy="323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SzPts val="1800"/>
              <a:buNone/>
            </a:pPr>
            <a:r>
              <a:rPr lang="fr-BE" sz="3600"/>
              <a:t>La rénovation collective,</a:t>
            </a:r>
            <a:br>
              <a:rPr lang="fr-BE" sz="3600"/>
            </a:br>
            <a:r>
              <a:rPr lang="fr-BE" sz="3600"/>
              <a:t>un changement de paradigme </a:t>
            </a:r>
            <a:br>
              <a:rPr lang="fr-BE" sz="3600"/>
            </a:br>
            <a:r>
              <a:rPr lang="fr-BE" sz="3600"/>
              <a:t>pour rencontrer les objectifs de la Rénolution</a:t>
            </a:r>
            <a:endParaRPr sz="3600"/>
          </a:p>
        </p:txBody>
      </p:sp>
      <p:sp>
        <p:nvSpPr>
          <p:cNvPr id="569" name="Google Shape;569;p4"/>
          <p:cNvSpPr txBox="1"/>
          <p:nvPr/>
        </p:nvSpPr>
        <p:spPr>
          <a:xfrm>
            <a:off x="5536013" y="1849617"/>
            <a:ext cx="6194071" cy="46831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47500" lnSpcReduction="20000"/>
          </a:bodyPr>
          <a:lstStyle/>
          <a:p>
            <a:pPr marL="685800" marR="0" lvl="0" indent="-6858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78947"/>
              <a:buFont typeface="Arial"/>
              <a:buChar char="•"/>
            </a:pPr>
            <a:r>
              <a:rPr lang="fr-BE" sz="4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Mieux déclencher </a:t>
            </a:r>
            <a:br>
              <a:rPr lang="fr-BE" sz="4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</a:br>
            <a:r>
              <a:rPr lang="fr-BE" sz="4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les décisions de rénover</a:t>
            </a:r>
            <a:endParaRPr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78947"/>
              <a:buFont typeface="Arial"/>
              <a:buChar char="•"/>
            </a:pPr>
            <a:r>
              <a:rPr lang="fr-BE" sz="4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Partager les apprentissages </a:t>
            </a:r>
            <a:br>
              <a:rPr lang="fr-BE" sz="4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</a:br>
            <a:r>
              <a:rPr lang="fr-BE" sz="4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entre voisins</a:t>
            </a:r>
            <a:endParaRPr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78947"/>
              <a:buFont typeface="Arial"/>
              <a:buChar char="•"/>
            </a:pPr>
            <a:r>
              <a:rPr lang="fr-BE" sz="4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Réduire les coûts de rénovation</a:t>
            </a:r>
            <a:endParaRPr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78947"/>
              <a:buFont typeface="Arial"/>
              <a:buChar char="•"/>
            </a:pPr>
            <a:r>
              <a:rPr lang="fr-BE" sz="4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Simplifier les processus urbanistiques</a:t>
            </a:r>
            <a:endParaRPr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78947"/>
              <a:buFont typeface="Arial"/>
              <a:buChar char="•"/>
            </a:pPr>
            <a:r>
              <a:rPr lang="fr-BE" sz="4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Structurer une approche inclusive</a:t>
            </a:r>
            <a:endParaRPr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78947"/>
              <a:buFont typeface="Arial"/>
              <a:buChar char="•"/>
            </a:pPr>
            <a:r>
              <a:rPr lang="fr-BE" sz="4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…</a:t>
            </a:r>
            <a:endParaRPr/>
          </a:p>
          <a:p>
            <a:pPr marL="685800" marR="0" lvl="0" indent="-571500" algn="l" rtl="0">
              <a:lnSpc>
                <a:spcPct val="120000"/>
              </a:lnSpc>
              <a:spcBef>
                <a:spcPts val="2000"/>
              </a:spcBef>
              <a:spcAft>
                <a:spcPts val="2000"/>
              </a:spcAft>
              <a:buClr>
                <a:schemeClr val="dk1"/>
              </a:buClr>
              <a:buSzPct val="78947"/>
              <a:buFont typeface="Arial"/>
              <a:buNone/>
            </a:pPr>
            <a:endParaRPr sz="4800" b="0" i="0" u="none" strike="noStrike" cap="none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4" name="Google Shape;774;p21"/>
          <p:cNvSpPr txBox="1">
            <a:spLocks noGrp="1"/>
          </p:cNvSpPr>
          <p:nvPr>
            <p:ph type="title"/>
          </p:nvPr>
        </p:nvSpPr>
        <p:spPr>
          <a:xfrm>
            <a:off x="535021" y="1942107"/>
            <a:ext cx="4473021" cy="323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3000"/>
              <a:buFont typeface="Trebuchet MS"/>
              <a:buNone/>
            </a:pPr>
            <a:r>
              <a:rPr lang="fr-BE" sz="3600"/>
              <a:t>Le projet touche aux différents enjeux ciblés par les GT de l’Alliance Rénolution</a:t>
            </a:r>
            <a:endParaRPr sz="3600"/>
          </a:p>
        </p:txBody>
      </p:sp>
      <p:sp>
        <p:nvSpPr>
          <p:cNvPr id="775" name="Google Shape;775;p21"/>
          <p:cNvSpPr txBox="1">
            <a:spLocks noGrp="1"/>
          </p:cNvSpPr>
          <p:nvPr>
            <p:ph type="sldNum" idx="12"/>
          </p:nvPr>
        </p:nvSpPr>
        <p:spPr>
          <a:xfrm>
            <a:off x="11483721" y="5800179"/>
            <a:ext cx="5948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fr-BE"/>
              <a:t>30</a:t>
            </a:fld>
            <a:endParaRPr/>
          </a:p>
        </p:txBody>
      </p:sp>
      <p:sp>
        <p:nvSpPr>
          <p:cNvPr id="776" name="Google Shape;776;p21"/>
          <p:cNvSpPr txBox="1">
            <a:spLocks noGrp="1"/>
          </p:cNvSpPr>
          <p:nvPr>
            <p:ph type="ftr" idx="11"/>
          </p:nvPr>
        </p:nvSpPr>
        <p:spPr>
          <a:xfrm rot="5400000">
            <a:off x="9827347" y="2710269"/>
            <a:ext cx="39012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</a:pPr>
            <a:r>
              <a:rPr lang="fr-BE"/>
              <a:t>Rénover ensemble pour une ville durable </a:t>
            </a:r>
            <a:endParaRPr/>
          </a:p>
        </p:txBody>
      </p:sp>
      <p:sp>
        <p:nvSpPr>
          <p:cNvPr id="777" name="Google Shape;777;p21"/>
          <p:cNvSpPr txBox="1"/>
          <p:nvPr/>
        </p:nvSpPr>
        <p:spPr>
          <a:xfrm>
            <a:off x="5951984" y="824283"/>
            <a:ext cx="4968552" cy="7913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3125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60"/>
              <a:buFont typeface="Arial"/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21"/>
          <p:cNvSpPr/>
          <p:nvPr/>
        </p:nvSpPr>
        <p:spPr>
          <a:xfrm>
            <a:off x="6027174" y="1844824"/>
            <a:ext cx="4749346" cy="360040"/>
          </a:xfrm>
          <a:prstGeom prst="roundRect">
            <a:avLst>
              <a:gd name="adj" fmla="val 16667"/>
            </a:avLst>
          </a:prstGeom>
          <a:solidFill>
            <a:schemeClr val="accent1">
              <a:alpha val="4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</a:pPr>
            <a:r>
              <a:rPr lang="fr-BE" sz="14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Réglementation</a:t>
            </a:r>
            <a:endParaRPr sz="14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779" name="Google Shape;779;p21"/>
          <p:cNvSpPr/>
          <p:nvPr/>
        </p:nvSpPr>
        <p:spPr>
          <a:xfrm>
            <a:off x="6027174" y="2356101"/>
            <a:ext cx="4749346" cy="36004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</a:pPr>
            <a:r>
              <a:rPr lang="fr-BE" sz="14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Urbanisme et Patrimoine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0" name="Google Shape;780;p21"/>
          <p:cNvSpPr/>
          <p:nvPr/>
        </p:nvSpPr>
        <p:spPr>
          <a:xfrm>
            <a:off x="6027174" y="2867378"/>
            <a:ext cx="4749346" cy="36004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</a:pPr>
            <a:r>
              <a:rPr lang="fr-BE" sz="14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Rénovation urbaine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1" name="Google Shape;781;p21"/>
          <p:cNvSpPr/>
          <p:nvPr/>
        </p:nvSpPr>
        <p:spPr>
          <a:xfrm>
            <a:off x="6027174" y="3378655"/>
            <a:ext cx="4749346" cy="360040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rebuchet MS"/>
              <a:buNone/>
            </a:pPr>
            <a:r>
              <a:rPr lang="fr-BE" sz="14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Financement</a:t>
            </a:r>
            <a:endParaRPr sz="14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782" name="Google Shape;782;p21"/>
          <p:cNvSpPr/>
          <p:nvPr/>
        </p:nvSpPr>
        <p:spPr>
          <a:xfrm>
            <a:off x="6027174" y="3889932"/>
            <a:ext cx="4749346" cy="36004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</a:pPr>
            <a:r>
              <a:rPr lang="fr-BE" sz="14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Accompagnement demande / offre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3" name="Google Shape;783;p21"/>
          <p:cNvSpPr/>
          <p:nvPr/>
        </p:nvSpPr>
        <p:spPr>
          <a:xfrm>
            <a:off x="6027174" y="4401209"/>
            <a:ext cx="4749346" cy="360040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</a:pPr>
            <a:r>
              <a:rPr lang="fr-BE" sz="14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Formation et Emploi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4" name="Google Shape;784;p21"/>
          <p:cNvSpPr/>
          <p:nvPr/>
        </p:nvSpPr>
        <p:spPr>
          <a:xfrm>
            <a:off x="6027174" y="4912488"/>
            <a:ext cx="4749346" cy="360040"/>
          </a:xfrm>
          <a:prstGeom prst="roundRect">
            <a:avLst>
              <a:gd name="adj" fmla="val 16667"/>
            </a:avLst>
          </a:prstGeom>
          <a:solidFill>
            <a:srgbClr val="23914B">
              <a:alpha val="4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rebuchet MS"/>
              <a:buNone/>
            </a:pPr>
            <a:r>
              <a:rPr lang="fr-BE" sz="14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Logistique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49065FC-66CA-447A-B323-F1CBE9C35B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7477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8" name="Google Shape;768;p20"/>
          <p:cNvSpPr txBox="1">
            <a:spLocks noGrp="1"/>
          </p:cNvSpPr>
          <p:nvPr>
            <p:ph type="title"/>
          </p:nvPr>
        </p:nvSpPr>
        <p:spPr>
          <a:xfrm>
            <a:off x="839791" y="2084822"/>
            <a:ext cx="3960065" cy="323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fr-FR" sz="3600"/>
              <a:t>Les besoins envers les GT de l’alliance, BE et le cabinet</a:t>
            </a:r>
            <a:endParaRPr lang="fr-FR" sz="3600" dirty="0"/>
          </a:p>
        </p:txBody>
      </p:sp>
      <p:sp>
        <p:nvSpPr>
          <p:cNvPr id="769" name="Google Shape;769;p20"/>
          <p:cNvSpPr txBox="1"/>
          <p:nvPr/>
        </p:nvSpPr>
        <p:spPr>
          <a:xfrm>
            <a:off x="5536013" y="1138136"/>
            <a:ext cx="6194071" cy="50778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2500" lnSpcReduction="10000"/>
          </a:bodyPr>
          <a:lstStyle/>
          <a:p>
            <a:pPr marL="685800" marR="0" lvl="0" indent="-6858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fr-FR" sz="20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GT Financement </a:t>
            </a:r>
            <a:r>
              <a:rPr lang="fr-FR" sz="2000" b="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: Proposer des </a:t>
            </a:r>
            <a:r>
              <a:rPr lang="fr-FR" sz="20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solutions de financement</a:t>
            </a:r>
            <a:r>
              <a:rPr lang="fr-FR" sz="2000" b="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 adéquates pour la rénovation énergétique profonde, ou un cadre (garantie) qu</a:t>
            </a:r>
            <a:r>
              <a:rPr lang="fr-FR" sz="2000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i permet l’innovation par les acteurs privés</a:t>
            </a:r>
            <a:endParaRPr lang="fr-FR" dirty="0"/>
          </a:p>
          <a:p>
            <a:pPr marL="685800" marR="0" lvl="0" indent="-685800" algn="l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fr-FR" sz="20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GT Urbanisme et patrimoine</a:t>
            </a:r>
            <a:r>
              <a:rPr lang="fr-FR" sz="2000" b="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 : Porter une analyse urbanistique du quartier pour éclairer les réflexions sur les choix architecturaux</a:t>
            </a:r>
            <a:endParaRPr lang="fr-FR" dirty="0"/>
          </a:p>
          <a:p>
            <a:pPr marL="685800" marR="0" lvl="0" indent="-685800" algn="l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fr-FR" sz="20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GT règlementation</a:t>
            </a:r>
            <a:r>
              <a:rPr lang="fr-FR" sz="2000" b="1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 : </a:t>
            </a:r>
            <a:r>
              <a:rPr lang="fr-FR" sz="2000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s’assurer de l’intégration des objectifs climat/</a:t>
            </a:r>
            <a:r>
              <a:rPr lang="fr-FR" sz="2000" dirty="0" err="1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rénolution</a:t>
            </a:r>
            <a:r>
              <a:rPr lang="fr-FR" sz="2000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 dans les différentes règlementation, dont les règlements (zonés) d’urbanisme</a:t>
            </a:r>
            <a:endParaRPr lang="fr-FR" sz="2000" b="1" i="0" u="none" strike="noStrike" cap="none" dirty="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  <a:p>
            <a:pPr marL="685800" marR="0" lvl="0" indent="-685800" algn="l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fr-FR" sz="20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La communication sur le projet </a:t>
            </a:r>
            <a:r>
              <a:rPr lang="fr-FR" sz="200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aidera à la mobilisation et à encourager les participants</a:t>
            </a:r>
          </a:p>
        </p:txBody>
      </p:sp>
    </p:spTree>
    <p:extLst>
      <p:ext uri="{BB962C8B-B14F-4D97-AF65-F5344CB8AC3E}">
        <p14:creationId xmlns:p14="http://schemas.microsoft.com/office/powerpoint/2010/main" val="360633185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45B518-FC6A-4BF5-A73A-E7A1C06D3F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13314" name="Picture 2">
            <a:extLst>
              <a:ext uri="{FF2B5EF4-FFF2-40B4-BE49-F238E27FC236}">
                <a16:creationId xmlns:a16="http://schemas.microsoft.com/office/drawing/2014/main" id="{37DB8CE3-8A2B-40AD-A261-009BA300F4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157" y="157229"/>
            <a:ext cx="10212372" cy="6543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8005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C4EF42-591C-4DA3-A5D4-B8813B51B6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1003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1DFE1B2-FF9A-4168-BD14-A233FAFBB9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20482" name="Picture 2">
            <a:extLst>
              <a:ext uri="{FF2B5EF4-FFF2-40B4-BE49-F238E27FC236}">
                <a16:creationId xmlns:a16="http://schemas.microsoft.com/office/drawing/2014/main" id="{D62A0541-3006-45EB-B02A-2F3247699D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60" y="323850"/>
            <a:ext cx="4981575" cy="6210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Google Shape;769;p20">
            <a:extLst>
              <a:ext uri="{FF2B5EF4-FFF2-40B4-BE49-F238E27FC236}">
                <a16:creationId xmlns:a16="http://schemas.microsoft.com/office/drawing/2014/main" id="{A8039F8D-303E-4DA6-82BB-1791A143212C}"/>
              </a:ext>
            </a:extLst>
          </p:cNvPr>
          <p:cNvSpPr txBox="1"/>
          <p:nvPr/>
        </p:nvSpPr>
        <p:spPr>
          <a:xfrm>
            <a:off x="5536013" y="1849618"/>
            <a:ext cx="6194071" cy="37729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R="0" lvl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</a:pPr>
            <a:r>
              <a:rPr lang="fr-FR" sz="20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Gouvernance :</a:t>
            </a:r>
          </a:p>
          <a:p>
            <a:pPr marR="0" lvl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</a:pPr>
            <a:endParaRPr lang="fr-FR" sz="2000" b="1" i="0" u="none" strike="noStrike" cap="none" dirty="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  <a:p>
            <a:pPr marL="685800" marR="0" lvl="0" indent="-6858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fr-FR" sz="20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BE et le cabinet sont</a:t>
            </a:r>
            <a:r>
              <a:rPr lang="fr-FR" sz="2000" b="1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-ils ouverts à composer le comité de pilotage (=CA) tel que proposé dans notre candidature ?</a:t>
            </a:r>
          </a:p>
          <a:p>
            <a:pPr marL="685800" marR="0" lvl="0" indent="-6858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endParaRPr lang="fr-FR" sz="2000" b="1" dirty="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  <a:p>
            <a:pPr marL="685800" marR="0" lvl="0" indent="-6858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</a:pPr>
            <a:r>
              <a:rPr lang="fr-FR" sz="2000" b="1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Sibelga est demandeur d’intégrer ce comité de pilotage </a:t>
            </a:r>
            <a:endParaRPr lang="fr-FR" sz="2000" i="0" u="none" strike="noStrike" cap="none" dirty="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23651184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9" name="Google Shape;789;p22"/>
          <p:cNvPicPr preferRelativeResize="0"/>
          <p:nvPr/>
        </p:nvPicPr>
        <p:blipFill rotWithShape="1">
          <a:blip r:embed="rId3">
            <a:alphaModFix/>
          </a:blip>
          <a:srcRect l="4447" t="21958"/>
          <a:stretch/>
        </p:blipFill>
        <p:spPr>
          <a:xfrm>
            <a:off x="0" y="-6120"/>
            <a:ext cx="12240000" cy="68670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22"/>
          <p:cNvSpPr/>
          <p:nvPr/>
        </p:nvSpPr>
        <p:spPr>
          <a:xfrm>
            <a:off x="839880" y="2084760"/>
            <a:ext cx="4031280" cy="3232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1" name="Google Shape;791;p22"/>
          <p:cNvSpPr/>
          <p:nvPr/>
        </p:nvSpPr>
        <p:spPr>
          <a:xfrm>
            <a:off x="11483640" y="5800320"/>
            <a:ext cx="594000" cy="36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BE" sz="10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34</a:t>
            </a:fld>
            <a:endParaRPr sz="10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2" name="Google Shape;792;p22"/>
          <p:cNvSpPr/>
          <p:nvPr/>
        </p:nvSpPr>
        <p:spPr>
          <a:xfrm rot="5400000">
            <a:off x="7915680" y="798120"/>
            <a:ext cx="390060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000" b="0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Rénover ensemble pour une ville durable </a:t>
            </a:r>
            <a:endParaRPr sz="10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3" name="Google Shape;793;p22"/>
          <p:cNvSpPr txBox="1"/>
          <p:nvPr/>
        </p:nvSpPr>
        <p:spPr>
          <a:xfrm>
            <a:off x="650449" y="360000"/>
            <a:ext cx="10869551" cy="52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3600" b="1" strike="noStrike" dirty="0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Volontiers vos suggestions et votre implication pour expérimenter et inspirer à travers ce projet</a:t>
            </a:r>
            <a:br>
              <a:rPr lang="fr-BE" sz="3600" b="1" strike="noStrike" dirty="0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</a:br>
            <a:endParaRPr sz="3600" b="1" strike="noStrike" dirty="0">
              <a:solidFill>
                <a:srgbClr val="0900BD"/>
              </a:solidFill>
              <a:latin typeface="Trebuchet MS"/>
              <a:ea typeface="Trebuchet MS"/>
              <a:cs typeface="Trebuchet MS"/>
              <a:sym typeface="Trebuchet MS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3600" b="1" dirty="0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Ensemble, </a:t>
            </a:r>
            <a:r>
              <a:rPr lang="fr-BE" sz="3600" b="1" strike="noStrike" dirty="0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rendons la rénovation énergétique accessible à tous les bruxellois</a:t>
            </a:r>
            <a:endParaRPr sz="3600" b="0" strike="noStrik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4" name="Google Shape;794;p22"/>
          <p:cNvSpPr/>
          <p:nvPr/>
        </p:nvSpPr>
        <p:spPr>
          <a:xfrm>
            <a:off x="0" y="5800320"/>
            <a:ext cx="12264272" cy="105768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 u="sng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renov-roue-rad.brussels</a:t>
            </a: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>
              <a:solidFill>
                <a:schemeClr val="dk1"/>
              </a:solidFill>
            </a:endParaRPr>
          </a:p>
          <a:p>
            <a:pPr marL="0" marR="0" lvl="0" indent="0" algn="ctr" rtl="0">
              <a:spcBef>
                <a:spcPts val="600"/>
              </a:spcBef>
              <a:spcAft>
                <a:spcPts val="0"/>
              </a:spcAft>
              <a:buNone/>
            </a:pPr>
            <a:r>
              <a:rPr lang="fr-BE" sz="1800" u="sng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nov.roue.rad@gmail.com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spcBef>
                <a:spcPts val="600"/>
              </a:spcBef>
              <a:spcAft>
                <a:spcPts val="0"/>
              </a:spcAft>
              <a:buNone/>
            </a:pP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+32 499 72 78 14</a:t>
            </a:r>
            <a:endParaRPr>
              <a:solidFill>
                <a:schemeClr val="dk1"/>
              </a:solidFill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7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9" name="Google Shape;799;p23"/>
          <p:cNvSpPr/>
          <p:nvPr/>
        </p:nvSpPr>
        <p:spPr>
          <a:xfrm>
            <a:off x="11483640" y="5800320"/>
            <a:ext cx="594000" cy="36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BE" sz="10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35</a:t>
            </a:fld>
            <a:endParaRPr sz="10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0" name="Google Shape;800;p23"/>
          <p:cNvSpPr/>
          <p:nvPr/>
        </p:nvSpPr>
        <p:spPr>
          <a:xfrm rot="5400000">
            <a:off x="7915680" y="798120"/>
            <a:ext cx="390060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0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Rénover ensemble pour une ville durable </a:t>
            </a:r>
            <a:endParaRPr sz="10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1" name="Google Shape;801;p23"/>
          <p:cNvSpPr/>
          <p:nvPr/>
        </p:nvSpPr>
        <p:spPr>
          <a:xfrm>
            <a:off x="1657800" y="228960"/>
            <a:ext cx="10511640" cy="662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28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L’ambition du Collectif de La Roue</a:t>
            </a:r>
            <a:endParaRPr sz="28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2" name="Google Shape;802;p23"/>
          <p:cNvSpPr txBox="1"/>
          <p:nvPr/>
        </p:nvSpPr>
        <p:spPr>
          <a:xfrm>
            <a:off x="683640" y="644400"/>
            <a:ext cx="10784880" cy="6459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 b="1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          </a:t>
            </a:r>
            <a:r>
              <a:rPr lang="fr-BE" sz="1600" b="1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Les objectifs</a:t>
            </a:r>
            <a:endParaRPr sz="16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6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* réduction des émissions de gaz à effet de serre de 95% d’ici 2050, et de 55% à l’horizon 2030 (par 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6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apport à 1990)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6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* Objectif global d’une consommation de 100 kW/(m²*an) en moyenne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6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* l’ambition d’aller plus loin (hors RENOLAB: candidature pour un projet JPI-PED/ district d’énergie positive)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6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=&gt; </a:t>
            </a:r>
            <a:r>
              <a:rPr lang="fr-BE" sz="1600" b="1" strike="noStrike">
                <a:solidFill>
                  <a:srgbClr val="127622"/>
                </a:solidFill>
                <a:latin typeface="Arial"/>
                <a:ea typeface="Arial"/>
                <a:cs typeface="Arial"/>
                <a:sym typeface="Arial"/>
              </a:rPr>
              <a:t>une Cité Jardin de La Roue neutre en carbone, c’est possible!</a:t>
            </a:r>
            <a:endParaRPr sz="16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600" b="0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* Faciliter la réplication dans d’autres cités jardin, habitats groupés, cités...</a:t>
            </a:r>
            <a:endParaRPr sz="16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600" b="1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es défis</a:t>
            </a:r>
            <a:endParaRPr sz="16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6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* coût et complexité de la rénovation du bâti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6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* conciliation des exigences de conservation du patrimoine architectural et de l’atténuation du changement 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6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matique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6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* hétérogénéité du quartier: propriétaires privés/ logements sociaux, moyens financiers, priorités des habitants 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600" b="1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es opportunités</a:t>
            </a:r>
            <a:endParaRPr sz="16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6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* uniformité du quartier La Roue: réplicabilité d’un même modéle sur des dizaines de maisons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6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* économies d’échelle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6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* simplification des permis, des démarches pour obtenir des primes, de contrats et de procédures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6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* projet plus attractif pour des entreprises expérimentées et ambitieuses dans le secteur de la rénovation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6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* modèle de financement solidaire et inclusif qui permet à tous voisins de participer selon leurs besoins et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6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 leurs moyens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7" name="Google Shape;807;p24"/>
          <p:cNvSpPr/>
          <p:nvPr/>
        </p:nvSpPr>
        <p:spPr>
          <a:xfrm>
            <a:off x="11483640" y="5800320"/>
            <a:ext cx="594000" cy="36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BE" sz="10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36</a:t>
            </a:fld>
            <a:endParaRPr sz="10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8" name="Google Shape;808;p24"/>
          <p:cNvSpPr/>
          <p:nvPr/>
        </p:nvSpPr>
        <p:spPr>
          <a:xfrm rot="5400000">
            <a:off x="7915680" y="798120"/>
            <a:ext cx="390060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0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Rénover ensemble pour une ville durable </a:t>
            </a:r>
            <a:endParaRPr sz="10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9" name="Google Shape;809;p24"/>
          <p:cNvSpPr/>
          <p:nvPr/>
        </p:nvSpPr>
        <p:spPr>
          <a:xfrm>
            <a:off x="1657800" y="228960"/>
            <a:ext cx="10511640" cy="662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28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Le phasage de nos projets</a:t>
            </a:r>
            <a:endParaRPr sz="28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0" name="Google Shape;810;p24"/>
          <p:cNvSpPr txBox="1"/>
          <p:nvPr/>
        </p:nvSpPr>
        <p:spPr>
          <a:xfrm>
            <a:off x="1539720" y="756360"/>
            <a:ext cx="9631080" cy="6276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400" b="1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ités préparatoires</a:t>
            </a:r>
            <a:endParaRPr sz="14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4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* Mars – Juin 2021: Constitution du groupe pilote, conception du projet, premières réunions avec les acteurs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4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* Juin 2021: Préparation des outils de communication (voici notre site web: </a:t>
            </a:r>
            <a:r>
              <a:rPr lang="fr-BE" sz="1400" b="0" u="sng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renov-roue-rad.brussels</a:t>
            </a:r>
            <a:r>
              <a:rPr lang="fr-BE" sz="14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)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4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* Juin 2021 – présent: Compréhension des besoins des habitants participants, entretiens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4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* Juin 2021 – présent: Identification de pistes de soutien et élaboration de dossiers de candidature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400" b="1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réparation de la Vague 1: Projet „Inspirons le quartier“</a:t>
            </a:r>
            <a:endParaRPr sz="14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400" b="0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* Janvier – Juin 2022: Élaboration de 5 solutions types et formalisation d’un cahier de charges pour ces projets de la </a:t>
            </a:r>
            <a:endParaRPr sz="14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400" b="0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  Vague 1, demande de prix et de propositions</a:t>
            </a:r>
            <a:endParaRPr sz="14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400" b="0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* en parallèle: Maintien de l’engagement des habitants mobilisés, mobilisation des voisins pour une Vague 2</a:t>
            </a:r>
            <a:endParaRPr sz="14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400" b="0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* Juin – Décembre 2022: Démarrage des travaux pour une partie de la Vague 1</a:t>
            </a:r>
            <a:endParaRPr sz="14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400" b="1" strike="noStrike">
                <a:solidFill>
                  <a:srgbClr val="C9211E"/>
                </a:solidFill>
                <a:latin typeface="Arial"/>
                <a:ea typeface="Arial"/>
                <a:cs typeface="Arial"/>
                <a:sym typeface="Arial"/>
              </a:rPr>
              <a:t>La Vague 2 (projet RENOLAB), 2022/ 2023</a:t>
            </a:r>
            <a:endParaRPr sz="14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400" b="0" strike="noStrike">
                <a:solidFill>
                  <a:srgbClr val="C9211E"/>
                </a:solidFill>
                <a:latin typeface="Arial"/>
                <a:ea typeface="Arial"/>
                <a:cs typeface="Arial"/>
                <a:sym typeface="Arial"/>
              </a:rPr>
              <a:t>* Compléter les dossiers de la Vague 1, dépôt d’un dossier de permis d’urbanisme groupé</a:t>
            </a:r>
            <a:endParaRPr sz="14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400" b="0" strike="noStrike">
                <a:solidFill>
                  <a:srgbClr val="C9211E"/>
                </a:solidFill>
                <a:latin typeface="Arial"/>
                <a:ea typeface="Arial"/>
                <a:cs typeface="Arial"/>
                <a:sym typeface="Arial"/>
              </a:rPr>
              <a:t>* Analyse PEB</a:t>
            </a:r>
            <a:endParaRPr sz="14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400" b="0" strike="noStrike">
                <a:solidFill>
                  <a:srgbClr val="C9211E"/>
                </a:solidFill>
                <a:latin typeface="Arial"/>
                <a:ea typeface="Arial"/>
                <a:cs typeface="Arial"/>
                <a:sym typeface="Arial"/>
              </a:rPr>
              <a:t>* Élaboration de projets type pour les participants de la Vague  1 et 2, appui pour les permis, primes, suivi des chantiers</a:t>
            </a:r>
            <a:endParaRPr sz="14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400" b="0" strike="noStrike">
                <a:solidFill>
                  <a:srgbClr val="C9211E"/>
                </a:solidFill>
                <a:latin typeface="Arial"/>
                <a:ea typeface="Arial"/>
                <a:cs typeface="Arial"/>
                <a:sym typeface="Arial"/>
              </a:rPr>
              <a:t>* Élaboration et démonstration d’un modèle de financement solidaire (avec la Banque Triodos)</a:t>
            </a:r>
            <a:endParaRPr sz="14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400" b="0" strike="noStrike">
                <a:solidFill>
                  <a:srgbClr val="C9211E"/>
                </a:solidFill>
                <a:latin typeface="Arial"/>
                <a:ea typeface="Arial"/>
                <a:cs typeface="Arial"/>
                <a:sym typeface="Arial"/>
              </a:rPr>
              <a:t>* Capitalisation des résultats, analyse de la réplicabilité, comparaison avant/ après, bilan carbone…</a:t>
            </a:r>
            <a:endParaRPr sz="14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400" b="0" strike="noStrike">
                <a:solidFill>
                  <a:srgbClr val="C9211E"/>
                </a:solidFill>
                <a:latin typeface="Arial"/>
                <a:ea typeface="Arial"/>
                <a:cs typeface="Arial"/>
                <a:sym typeface="Arial"/>
              </a:rPr>
              <a:t>* Schéma directeur pour la mise en place de réseaux de chaleur</a:t>
            </a:r>
            <a:endParaRPr sz="14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400" b="1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us ultra: Projets JPI-PED, Projet UE- LIFE, 2023 – 2027, d’autres pistes, d’autres idées</a:t>
            </a:r>
            <a:endParaRPr sz="14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4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* Étude de faisabilité et mise en place de réseaux de chaleur décentralisés 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4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* Modèles de propriété citoyenne/ coopérative pour les réseaux de chaleur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4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* Réplication des solutions collectives pour les maisons du Foyer Anderlechtois et d’autres habitants non participants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4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 aux vagues 1 et 2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4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* Mise en place d’autres solutions d’atténuation/ adaptation au changement climatique (eau, biodiversité...)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5" name="Google Shape;815;p25"/>
          <p:cNvSpPr/>
          <p:nvPr/>
        </p:nvSpPr>
        <p:spPr>
          <a:xfrm>
            <a:off x="11483640" y="5800320"/>
            <a:ext cx="594000" cy="36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BE" sz="10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37</a:t>
            </a:fld>
            <a:endParaRPr sz="10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6" name="Google Shape;816;p25"/>
          <p:cNvSpPr/>
          <p:nvPr/>
        </p:nvSpPr>
        <p:spPr>
          <a:xfrm rot="5400000">
            <a:off x="7915680" y="798120"/>
            <a:ext cx="390060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0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Rénover ensemble pour une ville durable </a:t>
            </a:r>
            <a:endParaRPr sz="10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7" name="Google Shape;817;p25"/>
          <p:cNvSpPr/>
          <p:nvPr/>
        </p:nvSpPr>
        <p:spPr>
          <a:xfrm>
            <a:off x="11483640" y="5862240"/>
            <a:ext cx="594000" cy="36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BE" sz="10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37</a:t>
            </a:fld>
            <a:endParaRPr sz="10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8" name="Google Shape;818;p25"/>
          <p:cNvSpPr/>
          <p:nvPr/>
        </p:nvSpPr>
        <p:spPr>
          <a:xfrm rot="5400000">
            <a:off x="7915680" y="860040"/>
            <a:ext cx="390060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9" name="Google Shape;819;p25"/>
          <p:cNvSpPr/>
          <p:nvPr/>
        </p:nvSpPr>
        <p:spPr>
          <a:xfrm>
            <a:off x="1657800" y="290880"/>
            <a:ext cx="10511640" cy="662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28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Les objectifs généraux du projet RENOLAB</a:t>
            </a:r>
            <a:endParaRPr sz="28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0" name="Google Shape;820;p25"/>
          <p:cNvSpPr txBox="1"/>
          <p:nvPr/>
        </p:nvSpPr>
        <p:spPr>
          <a:xfrm>
            <a:off x="1587240" y="888840"/>
            <a:ext cx="9717480" cy="50475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 b="0" u="sng" strike="noStrike">
                <a:solidFill>
                  <a:srgbClr val="00264D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Ce que nous voulons démontrer</a:t>
            </a:r>
            <a:endParaRPr sz="1800" b="0" strike="noStrike">
              <a:solidFill>
                <a:schemeClr val="dk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None/>
            </a:pPr>
            <a:r>
              <a:rPr lang="fr-BE" sz="1800" b="0" strike="noStrike">
                <a:solidFill>
                  <a:srgbClr val="00264D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Les approches citoyennes par quartier :</a:t>
            </a:r>
            <a:endParaRPr sz="1800" b="0" strike="noStrike">
              <a:solidFill>
                <a:schemeClr val="dk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285840" marR="0" lvl="0" indent="-285480" algn="l" rtl="0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>
                <a:srgbClr val="10B596"/>
              </a:buClr>
              <a:buSzPts val="1800"/>
              <a:buFont typeface="Arial"/>
              <a:buChar char="•"/>
            </a:pPr>
            <a:r>
              <a:rPr lang="fr-BE" sz="1800" b="0" strike="noStrike">
                <a:solidFill>
                  <a:srgbClr val="00264D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ont le potentiel de déclencher une dynamique de rénovation énergétique permettant d’atteindre le rythme requis par la transition climat </a:t>
            </a:r>
            <a:endParaRPr sz="18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840" marR="0" lvl="0" indent="-285480" algn="l" rtl="0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>
                <a:srgbClr val="10B596"/>
              </a:buClr>
              <a:buSzPts val="1800"/>
              <a:buFont typeface="Arial"/>
              <a:buChar char="•"/>
            </a:pPr>
            <a:r>
              <a:rPr lang="fr-BE" sz="1800" b="0" strike="noStrike">
                <a:solidFill>
                  <a:srgbClr val="00264D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en offrant de multiples bénéfices économiques, environnementaux et sociaux.</a:t>
            </a:r>
            <a:endParaRPr sz="18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None/>
            </a:pPr>
            <a:r>
              <a:rPr lang="fr-BE" sz="1800" b="0" u="sng" strike="noStrike">
                <a:solidFill>
                  <a:srgbClr val="00264D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Pour ce faire, </a:t>
            </a:r>
            <a:endParaRPr sz="1800" b="0" strike="noStrike">
              <a:solidFill>
                <a:schemeClr val="dk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None/>
            </a:pPr>
            <a:r>
              <a:rPr lang="fr-BE" sz="1800" b="1" strike="noStrike">
                <a:solidFill>
                  <a:srgbClr val="00264D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Formuler et de tester un processus de rénovation énergétique à l’échelle du quartier</a:t>
            </a:r>
            <a:r>
              <a:rPr lang="fr-BE" sz="1800" b="0" strike="noStrike">
                <a:solidFill>
                  <a:srgbClr val="00264D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 pour démontrer le potentiel de travailler à cette échelle en termes de </a:t>
            </a:r>
            <a:endParaRPr sz="1800" b="0" strike="noStrike">
              <a:solidFill>
                <a:schemeClr val="dk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285840" marR="0" lvl="0" indent="-285480" algn="l" rtl="0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>
                <a:srgbClr val="10B596"/>
              </a:buClr>
              <a:buSzPts val="1800"/>
              <a:buFont typeface="Arial"/>
              <a:buChar char="•"/>
            </a:pPr>
            <a:r>
              <a:rPr lang="fr-BE" sz="1800" b="0" strike="noStrike">
                <a:solidFill>
                  <a:srgbClr val="00264D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déclenchement des rénovations énergétiques, </a:t>
            </a:r>
            <a:endParaRPr sz="18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840" marR="0" lvl="0" indent="-285480" algn="l" rtl="0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>
                <a:srgbClr val="10B596"/>
              </a:buClr>
              <a:buSzPts val="1800"/>
              <a:buFont typeface="Arial"/>
              <a:buChar char="•"/>
            </a:pPr>
            <a:r>
              <a:rPr lang="fr-BE" sz="1800" b="0" strike="noStrike">
                <a:solidFill>
                  <a:srgbClr val="00264D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de réduction des coûts, </a:t>
            </a:r>
            <a:endParaRPr sz="18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840" marR="0" lvl="0" indent="-285480" algn="l" rtl="0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>
                <a:srgbClr val="10B596"/>
              </a:buClr>
              <a:buSzPts val="1800"/>
              <a:buFont typeface="Arial"/>
              <a:buChar char="•"/>
            </a:pPr>
            <a:r>
              <a:rPr lang="fr-BE" sz="1800" b="0" strike="noStrike">
                <a:solidFill>
                  <a:srgbClr val="00264D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de temps et d’énergie à toutes les étapes du parcours de rénovation, </a:t>
            </a:r>
            <a:endParaRPr sz="18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840" marR="0" lvl="0" indent="-285480" algn="l" rtl="0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>
                <a:srgbClr val="10B596"/>
              </a:buClr>
              <a:buSzPts val="1800"/>
              <a:buFont typeface="Arial"/>
              <a:buChar char="•"/>
            </a:pPr>
            <a:r>
              <a:rPr lang="fr-BE" sz="1800" b="0" strike="noStrike">
                <a:solidFill>
                  <a:srgbClr val="00264D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d’attractivité vers les particuliers et les professionnels de la rénovation. </a:t>
            </a:r>
            <a:endParaRPr sz="18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None/>
            </a:pPr>
            <a:r>
              <a:rPr lang="fr-BE" sz="1800" b="0" strike="noStrike">
                <a:solidFill>
                  <a:srgbClr val="00264D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Le projet veut encourager des rénovations énergétiques globales en améliorant l’information, l’accessibilité des solutions techniques et leurs coûts, la simplification des démarches de permis, l’accessibilité des solutions de financement.</a:t>
            </a:r>
            <a:endParaRPr sz="1800" b="0" strike="noStrike">
              <a:solidFill>
                <a:schemeClr val="dk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pic>
        <p:nvPicPr>
          <p:cNvPr id="821" name="Google Shape;821;p2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22560" y="966960"/>
            <a:ext cx="360" cy="3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6" name="Google Shape;826;p26"/>
          <p:cNvSpPr/>
          <p:nvPr/>
        </p:nvSpPr>
        <p:spPr>
          <a:xfrm>
            <a:off x="11483640" y="5800320"/>
            <a:ext cx="594000" cy="36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BE" sz="10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38</a:t>
            </a:fld>
            <a:endParaRPr sz="10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7" name="Google Shape;827;p26"/>
          <p:cNvSpPr/>
          <p:nvPr/>
        </p:nvSpPr>
        <p:spPr>
          <a:xfrm rot="5400000">
            <a:off x="7915680" y="798120"/>
            <a:ext cx="390060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0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Rénover ensemble pour une ville durable </a:t>
            </a:r>
            <a:endParaRPr sz="10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8" name="Google Shape;828;p26"/>
          <p:cNvSpPr/>
          <p:nvPr/>
        </p:nvSpPr>
        <p:spPr>
          <a:xfrm>
            <a:off x="1109520" y="190440"/>
            <a:ext cx="10511640" cy="662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28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Les objectifs spécifiques...  et les partenaires responsables</a:t>
            </a:r>
            <a:endParaRPr sz="28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9" name="Google Shape;829;p26"/>
          <p:cNvSpPr txBox="1"/>
          <p:nvPr/>
        </p:nvSpPr>
        <p:spPr>
          <a:xfrm>
            <a:off x="7163640" y="4892040"/>
            <a:ext cx="849960" cy="541080"/>
          </a:xfrm>
          <a:prstGeom prst="rect">
            <a:avLst/>
          </a:prstGeom>
          <a:solidFill>
            <a:srgbClr val="FFA6A6"/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riodos</a:t>
            </a:r>
            <a:endParaRPr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26"/>
          <p:cNvSpPr txBox="1"/>
          <p:nvPr/>
        </p:nvSpPr>
        <p:spPr>
          <a:xfrm>
            <a:off x="6836760" y="1414800"/>
            <a:ext cx="1555200" cy="540720"/>
          </a:xfrm>
          <a:prstGeom prst="rect">
            <a:avLst/>
          </a:prstGeom>
          <a:solidFill>
            <a:srgbClr val="FFA6A6"/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abitat et Participation</a:t>
            </a:r>
            <a:endParaRPr/>
          </a:p>
        </p:txBody>
      </p:sp>
      <p:sp>
        <p:nvSpPr>
          <p:cNvPr id="831" name="Google Shape;831;p26"/>
          <p:cNvSpPr txBox="1"/>
          <p:nvPr/>
        </p:nvSpPr>
        <p:spPr>
          <a:xfrm>
            <a:off x="6699960" y="2934360"/>
            <a:ext cx="1754280" cy="541080"/>
          </a:xfrm>
          <a:prstGeom prst="rect">
            <a:avLst/>
          </a:prstGeom>
          <a:solidFill>
            <a:srgbClr val="FFA6A6"/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S </a:t>
            </a:r>
            <a:endParaRPr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rchitectes</a:t>
            </a:r>
            <a:endParaRPr/>
          </a:p>
        </p:txBody>
      </p:sp>
      <p:sp>
        <p:nvSpPr>
          <p:cNvPr id="832" name="Google Shape;832;p26"/>
          <p:cNvSpPr txBox="1"/>
          <p:nvPr/>
        </p:nvSpPr>
        <p:spPr>
          <a:xfrm>
            <a:off x="8500320" y="1417320"/>
            <a:ext cx="1266120" cy="583920"/>
          </a:xfrm>
          <a:prstGeom prst="rect">
            <a:avLst/>
          </a:prstGeom>
          <a:solidFill>
            <a:srgbClr val="AFD095"/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lectif de La Roue</a:t>
            </a:r>
            <a:endParaRPr/>
          </a:p>
        </p:txBody>
      </p:sp>
      <p:sp>
        <p:nvSpPr>
          <p:cNvPr id="833" name="Google Shape;833;p26"/>
          <p:cNvSpPr txBox="1"/>
          <p:nvPr/>
        </p:nvSpPr>
        <p:spPr>
          <a:xfrm>
            <a:off x="1537560" y="1306080"/>
            <a:ext cx="4883400" cy="5407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1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bjectif 1: Dynamique d’échelle et mobilisation </a:t>
            </a:r>
            <a:endParaRPr sz="12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4" name="Google Shape;834;p26"/>
          <p:cNvSpPr txBox="1"/>
          <p:nvPr/>
        </p:nvSpPr>
        <p:spPr>
          <a:xfrm>
            <a:off x="1519560" y="1636920"/>
            <a:ext cx="5280840" cy="1182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ité 1.1.: Communication et mobilisation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ité 1.2.: Engagement Vague 1 et processus participatifs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ité 1.3.: Mobilisation Vague 2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ité 1.4.: Analyse et synthèse des apprentissages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5" name="Google Shape;835;p26"/>
          <p:cNvSpPr txBox="1"/>
          <p:nvPr/>
        </p:nvSpPr>
        <p:spPr>
          <a:xfrm>
            <a:off x="1519920" y="2793960"/>
            <a:ext cx="5479560" cy="5410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1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bjectif 2: Accompagnement technique et administratif</a:t>
            </a:r>
            <a:endParaRPr sz="12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6" name="Google Shape;836;p26"/>
          <p:cNvSpPr txBox="1"/>
          <p:nvPr/>
        </p:nvSpPr>
        <p:spPr>
          <a:xfrm>
            <a:off x="1574640" y="3197520"/>
            <a:ext cx="5280840" cy="1396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ité 2.1.: État des besoins individuels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ité 2.2.: Standardisation des solutions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ité 2.3.: Accompagnement de la rénovation groupée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ité 2.4.: Mobilisation de tous les acteurs à impliquer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ité 2.5.: Analyse et synthèse des apprentissages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7" name="Google Shape;837;p26"/>
          <p:cNvSpPr txBox="1"/>
          <p:nvPr/>
        </p:nvSpPr>
        <p:spPr>
          <a:xfrm>
            <a:off x="8554680" y="2886120"/>
            <a:ext cx="1266120" cy="583920"/>
          </a:xfrm>
          <a:prstGeom prst="rect">
            <a:avLst/>
          </a:prstGeom>
          <a:solidFill>
            <a:srgbClr val="AFD095"/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lectif de La Roue</a:t>
            </a:r>
            <a:endParaRPr/>
          </a:p>
        </p:txBody>
      </p:sp>
      <p:sp>
        <p:nvSpPr>
          <p:cNvPr id="838" name="Google Shape;838;p26"/>
          <p:cNvSpPr txBox="1"/>
          <p:nvPr/>
        </p:nvSpPr>
        <p:spPr>
          <a:xfrm>
            <a:off x="1501560" y="4392360"/>
            <a:ext cx="5479920" cy="5407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1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bjectif 3: Modèle de financement inclusif</a:t>
            </a:r>
            <a:endParaRPr sz="12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9" name="Google Shape;839;p26"/>
          <p:cNvSpPr txBox="1"/>
          <p:nvPr/>
        </p:nvSpPr>
        <p:spPr>
          <a:xfrm>
            <a:off x="1538640" y="4832280"/>
            <a:ext cx="5281200" cy="118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ité 3.1.: État des besoins de financement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ité 3.2.: Approche de financement pour le quartier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ité 3.3.: Expérimentation de l’approche de financement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ité 3.4.: Analyse et synthèse des apprentissages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0" name="Google Shape;840;p26"/>
          <p:cNvSpPr txBox="1"/>
          <p:nvPr/>
        </p:nvSpPr>
        <p:spPr>
          <a:xfrm>
            <a:off x="8606160" y="4876560"/>
            <a:ext cx="1266120" cy="583560"/>
          </a:xfrm>
          <a:prstGeom prst="rect">
            <a:avLst/>
          </a:prstGeom>
          <a:solidFill>
            <a:srgbClr val="AFD095"/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lectif de La Roue</a:t>
            </a:r>
            <a:endParaRPr/>
          </a:p>
        </p:txBody>
      </p:sp>
      <p:sp>
        <p:nvSpPr>
          <p:cNvPr id="841" name="Google Shape;841;p26"/>
          <p:cNvSpPr txBox="1"/>
          <p:nvPr/>
        </p:nvSpPr>
        <p:spPr>
          <a:xfrm>
            <a:off x="6999840" y="2059920"/>
            <a:ext cx="1265760" cy="583920"/>
          </a:xfrm>
          <a:prstGeom prst="rect">
            <a:avLst/>
          </a:prstGeom>
          <a:solidFill>
            <a:srgbClr val="AFD095"/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lectif de La Roue</a:t>
            </a:r>
            <a:endParaRPr/>
          </a:p>
        </p:txBody>
      </p:sp>
      <p:sp>
        <p:nvSpPr>
          <p:cNvPr id="842" name="Google Shape;842;p26"/>
          <p:cNvSpPr txBox="1"/>
          <p:nvPr/>
        </p:nvSpPr>
        <p:spPr>
          <a:xfrm>
            <a:off x="7162560" y="3768120"/>
            <a:ext cx="1266120" cy="583560"/>
          </a:xfrm>
          <a:prstGeom prst="rect">
            <a:avLst/>
          </a:prstGeom>
          <a:solidFill>
            <a:srgbClr val="AFD095"/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lectif de La Roue</a:t>
            </a:r>
            <a:endParaRPr/>
          </a:p>
        </p:txBody>
      </p:sp>
      <p:sp>
        <p:nvSpPr>
          <p:cNvPr id="843" name="Google Shape;843;p26"/>
          <p:cNvSpPr txBox="1"/>
          <p:nvPr/>
        </p:nvSpPr>
        <p:spPr>
          <a:xfrm>
            <a:off x="6474960" y="902520"/>
            <a:ext cx="1736640" cy="5410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1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ise en œuvre </a:t>
            </a:r>
            <a:endParaRPr sz="12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4" name="Google Shape;844;p26"/>
          <p:cNvSpPr txBox="1"/>
          <p:nvPr/>
        </p:nvSpPr>
        <p:spPr>
          <a:xfrm>
            <a:off x="8355960" y="848160"/>
            <a:ext cx="1736640" cy="5410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1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ordination et suivi</a:t>
            </a:r>
            <a:endParaRPr sz="12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5" name="Google Shape;845;p26"/>
          <p:cNvSpPr txBox="1"/>
          <p:nvPr/>
        </p:nvSpPr>
        <p:spPr>
          <a:xfrm>
            <a:off x="6314760" y="3530160"/>
            <a:ext cx="849600" cy="402840"/>
          </a:xfrm>
          <a:prstGeom prst="rect">
            <a:avLst/>
          </a:prstGeom>
          <a:solidFill>
            <a:srgbClr val="FFA6A6"/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Brouae</a:t>
            </a:r>
            <a:endParaRPr/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0" name="Google Shape;850;p27"/>
          <p:cNvSpPr/>
          <p:nvPr/>
        </p:nvSpPr>
        <p:spPr>
          <a:xfrm>
            <a:off x="11483640" y="5800320"/>
            <a:ext cx="594000" cy="36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BE" sz="10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39</a:t>
            </a:fld>
            <a:endParaRPr sz="10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1" name="Google Shape;851;p27"/>
          <p:cNvSpPr/>
          <p:nvPr/>
        </p:nvSpPr>
        <p:spPr>
          <a:xfrm rot="5400000">
            <a:off x="7915680" y="798120"/>
            <a:ext cx="390060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0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Rénover ensemble pour une ville durable </a:t>
            </a:r>
            <a:endParaRPr sz="10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2" name="Google Shape;852;p27"/>
          <p:cNvSpPr txBox="1"/>
          <p:nvPr/>
        </p:nvSpPr>
        <p:spPr>
          <a:xfrm>
            <a:off x="6930360" y="2102760"/>
            <a:ext cx="883440" cy="336600"/>
          </a:xfrm>
          <a:prstGeom prst="rect">
            <a:avLst/>
          </a:prstGeom>
          <a:solidFill>
            <a:srgbClr val="FFA6A6"/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LB</a:t>
            </a:r>
            <a:endParaRPr/>
          </a:p>
        </p:txBody>
      </p:sp>
      <p:sp>
        <p:nvSpPr>
          <p:cNvPr id="853" name="Google Shape;853;p27"/>
          <p:cNvSpPr txBox="1"/>
          <p:nvPr/>
        </p:nvSpPr>
        <p:spPr>
          <a:xfrm>
            <a:off x="7813800" y="2439360"/>
            <a:ext cx="750960" cy="336600"/>
          </a:xfrm>
          <a:prstGeom prst="rect">
            <a:avLst/>
          </a:prstGeom>
          <a:solidFill>
            <a:srgbClr val="FFA6A6"/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CL</a:t>
            </a:r>
            <a:endParaRPr/>
          </a:p>
        </p:txBody>
      </p:sp>
      <p:sp>
        <p:nvSpPr>
          <p:cNvPr id="854" name="Google Shape;854;p27"/>
          <p:cNvSpPr txBox="1"/>
          <p:nvPr/>
        </p:nvSpPr>
        <p:spPr>
          <a:xfrm>
            <a:off x="7114680" y="880560"/>
            <a:ext cx="1390680" cy="336960"/>
          </a:xfrm>
          <a:prstGeom prst="rect">
            <a:avLst/>
          </a:prstGeom>
          <a:solidFill>
            <a:srgbClr val="FFA6A6"/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solia</a:t>
            </a:r>
            <a:endParaRPr/>
          </a:p>
        </p:txBody>
      </p:sp>
      <p:sp>
        <p:nvSpPr>
          <p:cNvPr id="855" name="Google Shape;855;p27"/>
          <p:cNvSpPr txBox="1"/>
          <p:nvPr/>
        </p:nvSpPr>
        <p:spPr>
          <a:xfrm>
            <a:off x="7432560" y="3754800"/>
            <a:ext cx="1015560" cy="471600"/>
          </a:xfrm>
          <a:prstGeom prst="rect">
            <a:avLst/>
          </a:prstGeom>
          <a:solidFill>
            <a:srgbClr val="FFA6A6"/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mact</a:t>
            </a:r>
            <a:endParaRPr/>
          </a:p>
        </p:txBody>
      </p:sp>
      <p:sp>
        <p:nvSpPr>
          <p:cNvPr id="856" name="Google Shape;856;p27"/>
          <p:cNvSpPr txBox="1"/>
          <p:nvPr/>
        </p:nvSpPr>
        <p:spPr>
          <a:xfrm>
            <a:off x="6795000" y="5667120"/>
            <a:ext cx="1259640" cy="336600"/>
          </a:xfrm>
          <a:prstGeom prst="rect">
            <a:avLst/>
          </a:prstGeom>
          <a:solidFill>
            <a:srgbClr val="FFA6A6"/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ab 705</a:t>
            </a:r>
            <a:endParaRPr/>
          </a:p>
        </p:txBody>
      </p:sp>
      <p:sp>
        <p:nvSpPr>
          <p:cNvPr id="857" name="Google Shape;857;p27"/>
          <p:cNvSpPr txBox="1"/>
          <p:nvPr/>
        </p:nvSpPr>
        <p:spPr>
          <a:xfrm>
            <a:off x="6323040" y="2831400"/>
            <a:ext cx="1676160" cy="556920"/>
          </a:xfrm>
          <a:prstGeom prst="rect">
            <a:avLst/>
          </a:prstGeom>
          <a:solidFill>
            <a:srgbClr val="FFA6A6"/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Neişolsayaparızabi sprl</a:t>
            </a:r>
            <a:endParaRPr/>
          </a:p>
        </p:txBody>
      </p:sp>
      <p:sp>
        <p:nvSpPr>
          <p:cNvPr id="858" name="Google Shape;858;p27"/>
          <p:cNvSpPr txBox="1"/>
          <p:nvPr/>
        </p:nvSpPr>
        <p:spPr>
          <a:xfrm>
            <a:off x="1529640" y="923040"/>
            <a:ext cx="5696280" cy="556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1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bjectif 4: Production d’énergie renouvelable</a:t>
            </a:r>
            <a:endParaRPr sz="12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9" name="Google Shape;859;p27"/>
          <p:cNvSpPr txBox="1"/>
          <p:nvPr/>
        </p:nvSpPr>
        <p:spPr>
          <a:xfrm>
            <a:off x="1587600" y="1281600"/>
            <a:ext cx="5864040" cy="14374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ité 4.1.: Plan directeur „chaleur et électricité décentralisés“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ité 4.2.: Étude de pré-faisabilité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0" name="Google Shape;860;p27"/>
          <p:cNvSpPr txBox="1"/>
          <p:nvPr/>
        </p:nvSpPr>
        <p:spPr>
          <a:xfrm>
            <a:off x="8843040" y="865800"/>
            <a:ext cx="1316160" cy="600840"/>
          </a:xfrm>
          <a:prstGeom prst="rect">
            <a:avLst/>
          </a:prstGeom>
          <a:solidFill>
            <a:srgbClr val="AFD095"/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lectif de La Roue</a:t>
            </a:r>
            <a:endParaRPr/>
          </a:p>
        </p:txBody>
      </p:sp>
      <p:sp>
        <p:nvSpPr>
          <p:cNvPr id="861" name="Google Shape;861;p27"/>
          <p:cNvSpPr txBox="1"/>
          <p:nvPr/>
        </p:nvSpPr>
        <p:spPr>
          <a:xfrm>
            <a:off x="1529640" y="1887840"/>
            <a:ext cx="6354360" cy="556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1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bjectif 5: Évaluation des bénéfices de la rénovation énergétique</a:t>
            </a:r>
            <a:endParaRPr sz="12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2" name="Google Shape;862;p27"/>
          <p:cNvSpPr txBox="1"/>
          <p:nvPr/>
        </p:nvSpPr>
        <p:spPr>
          <a:xfrm>
            <a:off x="1587960" y="2320920"/>
            <a:ext cx="5489640" cy="1217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ité 5.1.: Analyse des impacts socio-économiques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ité 5.2.: Qualité de l’environnement intérieur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ité 5.3.: Bilan carbone des rénovations réalisées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ité 5.4.: Analyse des bénéfices collatéraux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3" name="Google Shape;863;p27"/>
          <p:cNvSpPr txBox="1"/>
          <p:nvPr/>
        </p:nvSpPr>
        <p:spPr>
          <a:xfrm>
            <a:off x="8843400" y="2207880"/>
            <a:ext cx="1316160" cy="601560"/>
          </a:xfrm>
          <a:prstGeom prst="rect">
            <a:avLst/>
          </a:prstGeom>
          <a:solidFill>
            <a:srgbClr val="AFD095"/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lectif de La Roue</a:t>
            </a:r>
            <a:endParaRPr/>
          </a:p>
        </p:txBody>
      </p:sp>
      <p:sp>
        <p:nvSpPr>
          <p:cNvPr id="864" name="Google Shape;864;p27"/>
          <p:cNvSpPr txBox="1"/>
          <p:nvPr/>
        </p:nvSpPr>
        <p:spPr>
          <a:xfrm>
            <a:off x="1530000" y="3438720"/>
            <a:ext cx="6354360" cy="556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1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bjectif 6: Analyse économique</a:t>
            </a:r>
            <a:endParaRPr sz="12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5" name="Google Shape;865;p27"/>
          <p:cNvSpPr txBox="1"/>
          <p:nvPr/>
        </p:nvSpPr>
        <p:spPr>
          <a:xfrm>
            <a:off x="1569960" y="3796200"/>
            <a:ext cx="5489640" cy="1217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ité 6.1.: Analyse coûts-opportunités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ité 6.2.: Modèles pour la réplication/ mise à l’échelle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ité 6.3.: Recommandations pour la réplication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6" name="Google Shape;866;p27"/>
          <p:cNvSpPr txBox="1"/>
          <p:nvPr/>
        </p:nvSpPr>
        <p:spPr>
          <a:xfrm>
            <a:off x="8843760" y="3701880"/>
            <a:ext cx="1316160" cy="601560"/>
          </a:xfrm>
          <a:prstGeom prst="rect">
            <a:avLst/>
          </a:prstGeom>
          <a:solidFill>
            <a:srgbClr val="AFD095"/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lectif de La Roue</a:t>
            </a:r>
            <a:endParaRPr/>
          </a:p>
        </p:txBody>
      </p:sp>
      <p:sp>
        <p:nvSpPr>
          <p:cNvPr id="867" name="Google Shape;867;p27"/>
          <p:cNvSpPr txBox="1"/>
          <p:nvPr/>
        </p:nvSpPr>
        <p:spPr>
          <a:xfrm>
            <a:off x="1530360" y="4667760"/>
            <a:ext cx="6354720" cy="556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1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bjectif 7: Conduite efficace du projet</a:t>
            </a:r>
            <a:endParaRPr sz="12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8" name="Google Shape;868;p27"/>
          <p:cNvSpPr txBox="1"/>
          <p:nvPr/>
        </p:nvSpPr>
        <p:spPr>
          <a:xfrm>
            <a:off x="6793200" y="5041800"/>
            <a:ext cx="1598400" cy="556920"/>
          </a:xfrm>
          <a:prstGeom prst="rect">
            <a:avLst/>
          </a:prstGeom>
          <a:solidFill>
            <a:srgbClr val="FFA6A6"/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ous partenaires</a:t>
            </a:r>
            <a:endParaRPr/>
          </a:p>
        </p:txBody>
      </p:sp>
      <p:sp>
        <p:nvSpPr>
          <p:cNvPr id="869" name="Google Shape;869;p27"/>
          <p:cNvSpPr txBox="1"/>
          <p:nvPr/>
        </p:nvSpPr>
        <p:spPr>
          <a:xfrm>
            <a:off x="8806320" y="5044680"/>
            <a:ext cx="1316160" cy="600840"/>
          </a:xfrm>
          <a:prstGeom prst="rect">
            <a:avLst/>
          </a:prstGeom>
          <a:solidFill>
            <a:srgbClr val="AFD095"/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lectif de La Roue</a:t>
            </a:r>
            <a:endParaRPr/>
          </a:p>
        </p:txBody>
      </p:sp>
      <p:sp>
        <p:nvSpPr>
          <p:cNvPr id="870" name="Google Shape;870;p27"/>
          <p:cNvSpPr txBox="1"/>
          <p:nvPr/>
        </p:nvSpPr>
        <p:spPr>
          <a:xfrm>
            <a:off x="1569960" y="5013720"/>
            <a:ext cx="4278600" cy="9435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ité 7.1.: Coordination du projet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ité 7.2.: Contrôle de qualité, suivi et évaluation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ité 7.3.: Gestion financière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71" name="Google Shape;871;p27"/>
          <p:cNvSpPr txBox="1"/>
          <p:nvPr/>
        </p:nvSpPr>
        <p:spPr>
          <a:xfrm>
            <a:off x="6746400" y="1359720"/>
            <a:ext cx="1676160" cy="556920"/>
          </a:xfrm>
          <a:prstGeom prst="rect">
            <a:avLst/>
          </a:prstGeom>
          <a:solidFill>
            <a:srgbClr val="FFA6A6"/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Neişolsayaparızabi sprl</a:t>
            </a:r>
            <a:endParaRPr/>
          </a:p>
        </p:txBody>
      </p:sp>
      <p:sp>
        <p:nvSpPr>
          <p:cNvPr id="872" name="Google Shape;872;p27"/>
          <p:cNvSpPr/>
          <p:nvPr/>
        </p:nvSpPr>
        <p:spPr>
          <a:xfrm>
            <a:off x="1167120" y="200160"/>
            <a:ext cx="10511640" cy="662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28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Les objectifs spécifiques...  et les partenaires responsables</a:t>
            </a:r>
            <a:endParaRPr sz="28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4" name="Google Shape;574;p5"/>
          <p:cNvSpPr txBox="1">
            <a:spLocks noGrp="1"/>
          </p:cNvSpPr>
          <p:nvPr>
            <p:ph type="title"/>
          </p:nvPr>
        </p:nvSpPr>
        <p:spPr>
          <a:xfrm>
            <a:off x="839791" y="2084822"/>
            <a:ext cx="3960065" cy="323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fr-BE" sz="3200"/>
              <a:t>Renov’Roue Rad est une initiative citoyenne pilote de rénovation collective</a:t>
            </a:r>
            <a:endParaRPr sz="3200"/>
          </a:p>
        </p:txBody>
      </p:sp>
      <p:sp>
        <p:nvSpPr>
          <p:cNvPr id="575" name="Google Shape;575;p5"/>
          <p:cNvSpPr txBox="1"/>
          <p:nvPr/>
        </p:nvSpPr>
        <p:spPr>
          <a:xfrm>
            <a:off x="5536013" y="2084822"/>
            <a:ext cx="6194071" cy="3302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40000" lnSpcReduction="20000"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Trebuchet MS"/>
              <a:buNone/>
            </a:pPr>
            <a:r>
              <a:rPr lang="fr-BE" sz="4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L’initiative vise à : </a:t>
            </a:r>
            <a:endParaRPr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Formuler et tester</a:t>
            </a:r>
            <a:endParaRPr sz="4800" b="0" i="0" u="none" strike="noStrike" cap="none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un processus de rénovation énergétique</a:t>
            </a:r>
            <a:endParaRPr sz="4800" b="0" i="0" u="none" strike="noStrike" cap="none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à l’échelle du quartier</a:t>
            </a:r>
            <a:endParaRPr sz="4800" b="0" i="0" u="none" strike="noStrike" cap="none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200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pour démontrer le potentiel de travailler à cette échelle</a:t>
            </a:r>
            <a:endParaRPr sz="4800" b="0" i="0" u="none" strike="noStrike" cap="none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28"/>
          <p:cNvSpPr/>
          <p:nvPr/>
        </p:nvSpPr>
        <p:spPr>
          <a:xfrm>
            <a:off x="11483640" y="5800320"/>
            <a:ext cx="594000" cy="36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BE" sz="10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40</a:t>
            </a:fld>
            <a:endParaRPr sz="10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78" name="Google Shape;878;p28"/>
          <p:cNvSpPr/>
          <p:nvPr/>
        </p:nvSpPr>
        <p:spPr>
          <a:xfrm rot="5400000">
            <a:off x="7915680" y="798120"/>
            <a:ext cx="390060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0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Rénover ensemble pour une ville durable </a:t>
            </a:r>
            <a:endParaRPr sz="10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79" name="Google Shape;879;p28"/>
          <p:cNvSpPr/>
          <p:nvPr/>
        </p:nvSpPr>
        <p:spPr>
          <a:xfrm>
            <a:off x="1657800" y="228960"/>
            <a:ext cx="10511640" cy="662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28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Le défi du financement solidaire et durable</a:t>
            </a:r>
            <a:endParaRPr sz="28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80" name="Google Shape;880;p28"/>
          <p:cNvSpPr txBox="1"/>
          <p:nvPr/>
        </p:nvSpPr>
        <p:spPr>
          <a:xfrm>
            <a:off x="1904760" y="1606680"/>
            <a:ext cx="1585800" cy="346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iapo Triodos</a:t>
            </a:r>
            <a:endParaRPr/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5" name="Google Shape;885;p29"/>
          <p:cNvSpPr/>
          <p:nvPr/>
        </p:nvSpPr>
        <p:spPr>
          <a:xfrm>
            <a:off x="11483640" y="5800320"/>
            <a:ext cx="594000" cy="36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BE" sz="10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41</a:t>
            </a:fld>
            <a:endParaRPr sz="10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86" name="Google Shape;886;p29"/>
          <p:cNvSpPr/>
          <p:nvPr/>
        </p:nvSpPr>
        <p:spPr>
          <a:xfrm rot="5400000">
            <a:off x="7915680" y="798120"/>
            <a:ext cx="390060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0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Rénover ensemble pour une ville durable </a:t>
            </a:r>
            <a:endParaRPr sz="10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87" name="Google Shape;887;p29"/>
          <p:cNvSpPr/>
          <p:nvPr/>
        </p:nvSpPr>
        <p:spPr>
          <a:xfrm>
            <a:off x="1657800" y="228960"/>
            <a:ext cx="10511640" cy="662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28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Où sommes-nous actuellement ?</a:t>
            </a:r>
            <a:endParaRPr sz="28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88" name="Google Shape;888;p29"/>
          <p:cNvSpPr txBox="1"/>
          <p:nvPr/>
        </p:nvSpPr>
        <p:spPr>
          <a:xfrm>
            <a:off x="1452600" y="894600"/>
            <a:ext cx="9332640" cy="4858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 janvier 2022	Réunion de démarrage avec tous les partenaires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				Réunions hebdomadaires et bihebdomadaires bilatérales pour la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				coordination du projet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9 février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6 mars			Réunions de mobilisation pour les voisins de La Roue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3 avril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7. février			Démarrage d’une campagne porte à porte pour appuyer la mobilisation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7. février			Démarrage des mesures des maisons de la Vague 1 par les architectes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0. février		Remise de la candidature JPI-PED (ensemble avec la Commune 						d’Anderlecht, l’ULB et la VUB)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. mars			Atelier avec les pouvoirs publics: Commune d’Anderlecht, 							Urban.Brussels, Foyer Anderlechtois, Bruxelles Logement, Bruxelles 					Environnement, Bouwmeester...</a:t>
            </a:r>
            <a:endParaRPr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15"/>
          <p:cNvSpPr txBox="1"/>
          <p:nvPr/>
        </p:nvSpPr>
        <p:spPr>
          <a:xfrm>
            <a:off x="1873800" y="378720"/>
            <a:ext cx="909000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3600" b="1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andardiser par une approche modulaire</a:t>
            </a:r>
            <a:endParaRPr sz="36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25" name="Google Shape;725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783800" y="3252600"/>
            <a:ext cx="1383840" cy="2076120"/>
          </a:xfrm>
          <a:prstGeom prst="rect">
            <a:avLst/>
          </a:prstGeom>
          <a:noFill/>
          <a:ln>
            <a:noFill/>
          </a:ln>
        </p:spPr>
      </p:pic>
      <p:pic>
        <p:nvPicPr>
          <p:cNvPr id="726" name="Google Shape;726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603800" y="1265400"/>
            <a:ext cx="2585160" cy="1723320"/>
          </a:xfrm>
          <a:prstGeom prst="rect">
            <a:avLst/>
          </a:prstGeom>
          <a:noFill/>
          <a:ln>
            <a:noFill/>
          </a:ln>
        </p:spPr>
      </p:pic>
      <p:pic>
        <p:nvPicPr>
          <p:cNvPr id="727" name="Google Shape;727;p15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478640" y="1445400"/>
            <a:ext cx="3125160" cy="2083320"/>
          </a:xfrm>
          <a:prstGeom prst="rect">
            <a:avLst/>
          </a:prstGeom>
          <a:noFill/>
          <a:ln>
            <a:noFill/>
          </a:ln>
        </p:spPr>
      </p:pic>
      <p:pic>
        <p:nvPicPr>
          <p:cNvPr id="728" name="Google Shape;728;p15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543800" y="3785400"/>
            <a:ext cx="3125160" cy="2083320"/>
          </a:xfrm>
          <a:prstGeom prst="rect">
            <a:avLst/>
          </a:prstGeom>
          <a:noFill/>
          <a:ln>
            <a:noFill/>
          </a:ln>
        </p:spPr>
      </p:pic>
      <p:pic>
        <p:nvPicPr>
          <p:cNvPr id="729" name="Google Shape;729;p15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3617280" y="4068720"/>
            <a:ext cx="2666520" cy="1777680"/>
          </a:xfrm>
          <a:prstGeom prst="rect">
            <a:avLst/>
          </a:prstGeom>
          <a:noFill/>
          <a:ln>
            <a:noFill/>
          </a:ln>
        </p:spPr>
      </p:pic>
      <p:sp>
        <p:nvSpPr>
          <p:cNvPr id="730" name="Google Shape;730;p15"/>
          <p:cNvSpPr txBox="1"/>
          <p:nvPr/>
        </p:nvSpPr>
        <p:spPr>
          <a:xfrm>
            <a:off x="4483800" y="1368720"/>
            <a:ext cx="2948400" cy="30247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6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Nous comptons: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6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us d’une cinquantaine de ce 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6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ype de façade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6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us d’une centaine de ce 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6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ype de façade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6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ne vingtaine de chacune de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600" b="0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es façades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1" name="Google Shape;731;p15"/>
          <p:cNvSpPr/>
          <p:nvPr/>
        </p:nvSpPr>
        <p:spPr>
          <a:xfrm rot="-2086200">
            <a:off x="2347560" y="2882160"/>
            <a:ext cx="2323440" cy="180000"/>
          </a:xfrm>
          <a:custGeom>
            <a:avLst/>
            <a:gdLst/>
            <a:ahLst/>
            <a:cxnLst/>
            <a:rect l="l" t="t" r="r" b="b"/>
            <a:pathLst>
              <a:path w="6457" h="501" extrusionOk="0">
                <a:moveTo>
                  <a:pt x="6455" y="131"/>
                </a:moveTo>
                <a:lnTo>
                  <a:pt x="851" y="138"/>
                </a:lnTo>
                <a:lnTo>
                  <a:pt x="851" y="0"/>
                </a:lnTo>
                <a:lnTo>
                  <a:pt x="0" y="251"/>
                </a:lnTo>
                <a:lnTo>
                  <a:pt x="851" y="500"/>
                </a:lnTo>
                <a:lnTo>
                  <a:pt x="851" y="362"/>
                </a:lnTo>
                <a:lnTo>
                  <a:pt x="6456" y="355"/>
                </a:lnTo>
                <a:lnTo>
                  <a:pt x="6455" y="131"/>
                </a:lnTo>
              </a:path>
            </a:pathLst>
          </a:custGeom>
          <a:solidFill>
            <a:srgbClr val="729FCF"/>
          </a:solidFill>
          <a:ln w="9525" cap="flat" cmpd="sng">
            <a:solidFill>
              <a:srgbClr val="3465A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2" name="Google Shape;732;p15"/>
          <p:cNvSpPr/>
          <p:nvPr/>
        </p:nvSpPr>
        <p:spPr>
          <a:xfrm>
            <a:off x="3763800" y="1908720"/>
            <a:ext cx="720000" cy="180000"/>
          </a:xfrm>
          <a:custGeom>
            <a:avLst/>
            <a:gdLst/>
            <a:ahLst/>
            <a:cxnLst/>
            <a:rect l="l" t="t" r="r" b="b"/>
            <a:pathLst>
              <a:path w="2002" h="502" extrusionOk="0">
                <a:moveTo>
                  <a:pt x="2001" y="125"/>
                </a:moveTo>
                <a:lnTo>
                  <a:pt x="500" y="125"/>
                </a:lnTo>
                <a:lnTo>
                  <a:pt x="500" y="0"/>
                </a:lnTo>
                <a:lnTo>
                  <a:pt x="0" y="250"/>
                </a:lnTo>
                <a:lnTo>
                  <a:pt x="500" y="501"/>
                </a:lnTo>
                <a:lnTo>
                  <a:pt x="500" y="375"/>
                </a:lnTo>
                <a:lnTo>
                  <a:pt x="2001" y="375"/>
                </a:lnTo>
                <a:lnTo>
                  <a:pt x="2001" y="125"/>
                </a:lnTo>
              </a:path>
            </a:pathLst>
          </a:custGeom>
          <a:solidFill>
            <a:srgbClr val="729FCF"/>
          </a:solidFill>
          <a:ln w="9525" cap="flat" cmpd="sng">
            <a:solidFill>
              <a:srgbClr val="3465A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3" name="Google Shape;733;p15"/>
          <p:cNvSpPr/>
          <p:nvPr/>
        </p:nvSpPr>
        <p:spPr>
          <a:xfrm>
            <a:off x="7003800" y="2628720"/>
            <a:ext cx="1080000" cy="180000"/>
          </a:xfrm>
          <a:custGeom>
            <a:avLst/>
            <a:gdLst/>
            <a:ahLst/>
            <a:cxnLst/>
            <a:rect l="l" t="t" r="r" b="b"/>
            <a:pathLst>
              <a:path w="3002" h="502" extrusionOk="0">
                <a:moveTo>
                  <a:pt x="0" y="125"/>
                </a:moveTo>
                <a:lnTo>
                  <a:pt x="2250" y="125"/>
                </a:lnTo>
                <a:lnTo>
                  <a:pt x="2250" y="0"/>
                </a:lnTo>
                <a:lnTo>
                  <a:pt x="3001" y="250"/>
                </a:lnTo>
                <a:lnTo>
                  <a:pt x="2250" y="501"/>
                </a:lnTo>
                <a:lnTo>
                  <a:pt x="2250" y="375"/>
                </a:lnTo>
                <a:lnTo>
                  <a:pt x="0" y="375"/>
                </a:lnTo>
                <a:lnTo>
                  <a:pt x="0" y="125"/>
                </a:lnTo>
              </a:path>
            </a:pathLst>
          </a:custGeom>
          <a:solidFill>
            <a:srgbClr val="729FCF"/>
          </a:solidFill>
          <a:ln w="9525" cap="flat" cmpd="sng">
            <a:solidFill>
              <a:srgbClr val="3465A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4" name="Google Shape;734;p15"/>
          <p:cNvSpPr/>
          <p:nvPr/>
        </p:nvSpPr>
        <p:spPr>
          <a:xfrm>
            <a:off x="5383800" y="3708720"/>
            <a:ext cx="180000" cy="900000"/>
          </a:xfrm>
          <a:custGeom>
            <a:avLst/>
            <a:gdLst/>
            <a:ahLst/>
            <a:cxnLst/>
            <a:rect l="l" t="t" r="r" b="b"/>
            <a:pathLst>
              <a:path w="502" h="2502" extrusionOk="0">
                <a:moveTo>
                  <a:pt x="125" y="0"/>
                </a:moveTo>
                <a:lnTo>
                  <a:pt x="125" y="1875"/>
                </a:lnTo>
                <a:lnTo>
                  <a:pt x="0" y="1875"/>
                </a:lnTo>
                <a:lnTo>
                  <a:pt x="250" y="2501"/>
                </a:lnTo>
                <a:lnTo>
                  <a:pt x="501" y="1875"/>
                </a:lnTo>
                <a:lnTo>
                  <a:pt x="375" y="1875"/>
                </a:lnTo>
                <a:lnTo>
                  <a:pt x="375" y="0"/>
                </a:lnTo>
                <a:lnTo>
                  <a:pt x="125" y="0"/>
                </a:lnTo>
              </a:path>
            </a:pathLst>
          </a:custGeom>
          <a:solidFill>
            <a:srgbClr val="729FCF"/>
          </a:solidFill>
          <a:ln w="9525" cap="flat" cmpd="sng">
            <a:solidFill>
              <a:srgbClr val="3465A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5" name="Google Shape;735;p15"/>
          <p:cNvSpPr/>
          <p:nvPr/>
        </p:nvSpPr>
        <p:spPr>
          <a:xfrm rot="-3744000">
            <a:off x="7358400" y="2950560"/>
            <a:ext cx="180000" cy="2255040"/>
          </a:xfrm>
          <a:custGeom>
            <a:avLst/>
            <a:gdLst/>
            <a:ahLst/>
            <a:cxnLst/>
            <a:rect l="l" t="t" r="r" b="b"/>
            <a:pathLst>
              <a:path w="502" h="6267" extrusionOk="0">
                <a:moveTo>
                  <a:pt x="98" y="0"/>
                </a:moveTo>
                <a:lnTo>
                  <a:pt x="98" y="5675"/>
                </a:lnTo>
                <a:lnTo>
                  <a:pt x="0" y="5675"/>
                </a:lnTo>
                <a:lnTo>
                  <a:pt x="249" y="6266"/>
                </a:lnTo>
                <a:lnTo>
                  <a:pt x="501" y="5675"/>
                </a:lnTo>
                <a:lnTo>
                  <a:pt x="401" y="5675"/>
                </a:lnTo>
                <a:lnTo>
                  <a:pt x="401" y="0"/>
                </a:lnTo>
                <a:lnTo>
                  <a:pt x="98" y="0"/>
                </a:lnTo>
              </a:path>
            </a:pathLst>
          </a:custGeom>
          <a:solidFill>
            <a:srgbClr val="729FCF"/>
          </a:solidFill>
          <a:ln w="9525" cap="flat" cmpd="sng">
            <a:solidFill>
              <a:srgbClr val="3465A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1885059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5" name="Google Shape;555;p3"/>
          <p:cNvPicPr preferRelativeResize="0"/>
          <p:nvPr/>
        </p:nvPicPr>
        <p:blipFill rotWithShape="1">
          <a:blip r:embed="rId3">
            <a:alphaModFix/>
          </a:blip>
          <a:srcRect l="4447" t="21958"/>
          <a:stretch/>
        </p:blipFill>
        <p:spPr>
          <a:xfrm>
            <a:off x="0" y="-6120"/>
            <a:ext cx="12239998" cy="6867001"/>
          </a:xfrm>
          <a:prstGeom prst="rect">
            <a:avLst/>
          </a:prstGeom>
          <a:noFill/>
          <a:ln>
            <a:noFill/>
          </a:ln>
        </p:spPr>
      </p:pic>
      <p:sp>
        <p:nvSpPr>
          <p:cNvPr id="556" name="Google Shape;556;p3"/>
          <p:cNvSpPr/>
          <p:nvPr/>
        </p:nvSpPr>
        <p:spPr>
          <a:xfrm>
            <a:off x="839880" y="2084760"/>
            <a:ext cx="4031280" cy="3232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7" name="Google Shape;557;p3"/>
          <p:cNvSpPr/>
          <p:nvPr/>
        </p:nvSpPr>
        <p:spPr>
          <a:xfrm>
            <a:off x="11483640" y="5800320"/>
            <a:ext cx="594000" cy="36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000" rIns="90000" bIns="450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BE" sz="1000" b="1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43</a:t>
            </a:fld>
            <a:endParaRPr sz="10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8" name="Google Shape;558;p3"/>
          <p:cNvSpPr/>
          <p:nvPr/>
        </p:nvSpPr>
        <p:spPr>
          <a:xfrm rot="5400000">
            <a:off x="7915680" y="798120"/>
            <a:ext cx="3900600" cy="397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000" b="0" strike="noStrike">
                <a:solidFill>
                  <a:srgbClr val="0900BD"/>
                </a:solidFill>
                <a:latin typeface="Trebuchet MS"/>
                <a:ea typeface="Trebuchet MS"/>
                <a:cs typeface="Trebuchet MS"/>
                <a:sym typeface="Trebuchet MS"/>
              </a:rPr>
              <a:t>Rénover ensemble pour une ville durable </a:t>
            </a:r>
            <a:endParaRPr sz="1000" b="0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416356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" name="Google Shape;706;p12"/>
          <p:cNvSpPr txBox="1">
            <a:spLocks noGrp="1"/>
          </p:cNvSpPr>
          <p:nvPr>
            <p:ph type="title"/>
          </p:nvPr>
        </p:nvSpPr>
        <p:spPr>
          <a:xfrm>
            <a:off x="839791" y="2084822"/>
            <a:ext cx="3960065" cy="323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fr-BE" sz="3600"/>
              <a:t>Le projet expérimente </a:t>
            </a:r>
            <a:br>
              <a:rPr lang="fr-BE" sz="3600"/>
            </a:br>
            <a:r>
              <a:rPr lang="fr-BE" sz="3600"/>
              <a:t>le rôle de coach </a:t>
            </a:r>
            <a:br>
              <a:rPr lang="fr-BE" sz="3600"/>
            </a:br>
            <a:r>
              <a:rPr lang="fr-BE" sz="3600"/>
              <a:t>de rénovation collective</a:t>
            </a:r>
            <a:endParaRPr sz="3600"/>
          </a:p>
        </p:txBody>
      </p:sp>
      <p:sp>
        <p:nvSpPr>
          <p:cNvPr id="707" name="Google Shape;707;p12"/>
          <p:cNvSpPr txBox="1"/>
          <p:nvPr/>
        </p:nvSpPr>
        <p:spPr>
          <a:xfrm>
            <a:off x="5536013" y="1849618"/>
            <a:ext cx="6194071" cy="37729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40000" lnSpcReduction="20000"/>
          </a:bodyPr>
          <a:lstStyle/>
          <a:p>
            <a:pPr marL="685800" marR="0" lvl="0" indent="-6858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mobilisation</a:t>
            </a:r>
            <a:r>
              <a:rPr lang="fr-BE" sz="4800" b="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, </a:t>
            </a:r>
            <a:endParaRPr dirty="0"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accompagnement</a:t>
            </a:r>
            <a:r>
              <a:rPr lang="fr-BE" sz="4800" b="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 technique et administratif, </a:t>
            </a:r>
            <a:endParaRPr dirty="0"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b="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mobilisation de </a:t>
            </a:r>
            <a:r>
              <a:rPr lang="fr-BE" sz="48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tous les acteurs</a:t>
            </a:r>
            <a:r>
              <a:rPr lang="fr-BE" sz="4800" b="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 </a:t>
            </a:r>
            <a:br>
              <a:rPr lang="fr-BE" sz="4800" b="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</a:br>
            <a:r>
              <a:rPr lang="fr-BE" sz="4800" b="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pour faciliter le parcours de rénovation, </a:t>
            </a:r>
            <a:endParaRPr dirty="0"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b="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facilitation du </a:t>
            </a:r>
            <a:r>
              <a:rPr lang="fr-BE" sz="48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montage financier </a:t>
            </a:r>
            <a:br>
              <a:rPr lang="fr-BE" sz="4800" b="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</a:br>
            <a:r>
              <a:rPr lang="fr-BE" sz="4800" b="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de manière inclusive, </a:t>
            </a:r>
            <a:endParaRPr dirty="0"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200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b="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intégration des opportunités </a:t>
            </a:r>
            <a:br>
              <a:rPr lang="fr-BE" sz="4800" b="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</a:br>
            <a:r>
              <a:rPr lang="fr-BE" sz="4800" b="0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de </a:t>
            </a:r>
            <a:r>
              <a:rPr lang="fr-BE" sz="48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réseau de chaleur</a:t>
            </a:r>
            <a:endParaRPr sz="4800" b="1" i="0" u="none" strike="noStrike" cap="none" dirty="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9310414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0" name="Google Shape;580;p6"/>
          <p:cNvSpPr txBox="1">
            <a:spLocks noGrp="1"/>
          </p:cNvSpPr>
          <p:nvPr>
            <p:ph type="title"/>
          </p:nvPr>
        </p:nvSpPr>
        <p:spPr>
          <a:xfrm>
            <a:off x="839791" y="2084822"/>
            <a:ext cx="3960065" cy="323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fr-BE" sz="3600"/>
              <a:t>Rendre la rénovation énergétique globale accessible aux bruxellois</a:t>
            </a:r>
            <a:endParaRPr sz="3600"/>
          </a:p>
        </p:txBody>
      </p:sp>
      <p:sp>
        <p:nvSpPr>
          <p:cNvPr id="581" name="Google Shape;581;p6"/>
          <p:cNvSpPr txBox="1"/>
          <p:nvPr/>
        </p:nvSpPr>
        <p:spPr>
          <a:xfrm>
            <a:off x="5536013" y="2084822"/>
            <a:ext cx="6194071" cy="35377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40000" lnSpcReduction="20000"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Trebuchet MS"/>
              <a:buNone/>
            </a:pPr>
            <a:r>
              <a:rPr lang="fr-BE" sz="48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En améliorant :</a:t>
            </a:r>
            <a:endParaRPr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l’information, </a:t>
            </a:r>
            <a:endParaRPr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l’accessibilité des solutions techniques </a:t>
            </a:r>
            <a:endParaRPr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leurs coûts, </a:t>
            </a:r>
            <a:endParaRPr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la simplification des démarches de permis, </a:t>
            </a:r>
            <a:endParaRPr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b="1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l’accessibilité des solutions de financement</a:t>
            </a:r>
            <a:endParaRPr/>
          </a:p>
          <a:p>
            <a:pPr marL="685800" marR="0" lvl="0" indent="-571500" algn="l" rtl="0">
              <a:lnSpc>
                <a:spcPct val="120000"/>
              </a:lnSpc>
              <a:spcBef>
                <a:spcPts val="2000"/>
              </a:spcBef>
              <a:spcAft>
                <a:spcPts val="2000"/>
              </a:spcAft>
              <a:buClr>
                <a:schemeClr val="dk1"/>
              </a:buClr>
              <a:buSzPct val="93750"/>
              <a:buFont typeface="Arial"/>
              <a:buNone/>
            </a:pPr>
            <a:endParaRPr sz="4800" b="1" i="0" u="none" strike="noStrike" cap="none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B9BDFF2-FCDF-4AF7-98CE-E7213A1D26A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0884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0" name="Google Shape;580;p6"/>
          <p:cNvSpPr txBox="1">
            <a:spLocks noGrp="1"/>
          </p:cNvSpPr>
          <p:nvPr>
            <p:ph type="title"/>
          </p:nvPr>
        </p:nvSpPr>
        <p:spPr>
          <a:xfrm>
            <a:off x="839791" y="2084822"/>
            <a:ext cx="4156415" cy="323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fr-BE" sz="3600" dirty="0"/>
              <a:t>Le projet vise une expérimentation concrète</a:t>
            </a:r>
            <a:endParaRPr sz="3600" dirty="0"/>
          </a:p>
        </p:txBody>
      </p:sp>
      <p:sp>
        <p:nvSpPr>
          <p:cNvPr id="581" name="Google Shape;581;p6"/>
          <p:cNvSpPr txBox="1"/>
          <p:nvPr/>
        </p:nvSpPr>
        <p:spPr>
          <a:xfrm>
            <a:off x="5536013" y="2084822"/>
            <a:ext cx="6194071" cy="35377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40000" lnSpcReduction="20000"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Trebuchet MS"/>
              <a:buNone/>
            </a:pPr>
            <a:r>
              <a:rPr lang="fr-BE" sz="48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Les objectifs sur le terrain :</a:t>
            </a:r>
            <a:endParaRPr dirty="0"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Deux vagues de rénovation de ~20 ménages </a:t>
            </a:r>
            <a:endParaRPr dirty="0"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Des solutions modulaires et standardisées </a:t>
            </a:r>
            <a:br>
              <a:rPr lang="fr-BE" sz="48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</a:br>
            <a:r>
              <a:rPr lang="fr-BE" sz="48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de rénovation</a:t>
            </a:r>
            <a:endParaRPr dirty="0"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La réalisation du schéma directeur chaleur </a:t>
            </a:r>
            <a:endParaRPr dirty="0"/>
          </a:p>
          <a:p>
            <a:pPr marL="685800" marR="0" lvl="0" indent="-6858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ct val="93750"/>
              <a:buFont typeface="Arial"/>
              <a:buChar char="•"/>
            </a:pPr>
            <a:r>
              <a:rPr lang="fr-BE" sz="4800" b="1" i="0" u="none" strike="noStrike" cap="none" dirty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L’expérimentation de processus </a:t>
            </a:r>
            <a:endParaRPr dirty="0"/>
          </a:p>
          <a:p>
            <a:pPr marL="685800" marR="0" lvl="0" indent="-571500" algn="l" rtl="0">
              <a:lnSpc>
                <a:spcPct val="120000"/>
              </a:lnSpc>
              <a:spcBef>
                <a:spcPts val="2000"/>
              </a:spcBef>
              <a:spcAft>
                <a:spcPts val="2000"/>
              </a:spcAft>
              <a:buClr>
                <a:schemeClr val="dk1"/>
              </a:buClr>
              <a:buSzPct val="93750"/>
              <a:buFont typeface="Arial"/>
              <a:buNone/>
            </a:pPr>
            <a:endParaRPr sz="4800" b="1" i="0" u="none" strike="noStrike" cap="none" dirty="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4732452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6" name="Google Shape;586;p7"/>
          <p:cNvSpPr txBox="1">
            <a:spLocks noGrp="1"/>
          </p:cNvSpPr>
          <p:nvPr>
            <p:ph type="title"/>
          </p:nvPr>
        </p:nvSpPr>
        <p:spPr>
          <a:xfrm>
            <a:off x="839791" y="2084822"/>
            <a:ext cx="3960065" cy="323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rebuchet MS"/>
              <a:buNone/>
            </a:pPr>
            <a:r>
              <a:rPr lang="fr-BE" sz="4400"/>
              <a:t>De mars 2021 à aujourd’hui</a:t>
            </a:r>
            <a:endParaRPr/>
          </a:p>
        </p:txBody>
      </p:sp>
      <p:cxnSp>
        <p:nvCxnSpPr>
          <p:cNvPr id="587" name="Google Shape;587;p7"/>
          <p:cNvCxnSpPr>
            <a:cxnSpLocks/>
          </p:cNvCxnSpPr>
          <p:nvPr/>
        </p:nvCxnSpPr>
        <p:spPr>
          <a:xfrm>
            <a:off x="8420647" y="375369"/>
            <a:ext cx="6900" cy="6358500"/>
          </a:xfrm>
          <a:prstGeom prst="straightConnector1">
            <a:avLst/>
          </a:prstGeom>
          <a:noFill/>
          <a:ln w="9525" cap="flat" cmpd="sng">
            <a:solidFill>
              <a:srgbClr val="EE2B2B"/>
            </a:solidFill>
            <a:prstDash val="solid"/>
            <a:miter lim="8000"/>
            <a:headEnd type="none" w="sm" len="sm"/>
            <a:tailEnd type="none" w="sm" len="sm"/>
          </a:ln>
        </p:spPr>
      </p:cxnSp>
      <p:sp>
        <p:nvSpPr>
          <p:cNvPr id="588" name="Google Shape;588;p7"/>
          <p:cNvSpPr/>
          <p:nvPr/>
        </p:nvSpPr>
        <p:spPr>
          <a:xfrm>
            <a:off x="8401238" y="798375"/>
            <a:ext cx="45719" cy="45719"/>
          </a:xfrm>
          <a:prstGeom prst="ellipse">
            <a:avLst/>
          </a:prstGeom>
          <a:solidFill>
            <a:schemeClr val="accent1"/>
          </a:solidFill>
          <a:ln w="25400" cap="flat" cmpd="sng">
            <a:solidFill>
              <a:srgbClr val="AF2424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9" name="Google Shape;589;p7"/>
          <p:cNvSpPr txBox="1"/>
          <p:nvPr/>
        </p:nvSpPr>
        <p:spPr>
          <a:xfrm>
            <a:off x="7437740" y="682734"/>
            <a:ext cx="92525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rs 2021</a:t>
            </a:r>
            <a:endParaRPr/>
          </a:p>
        </p:txBody>
      </p:sp>
      <p:sp>
        <p:nvSpPr>
          <p:cNvPr id="590" name="Google Shape;590;p7"/>
          <p:cNvSpPr txBox="1"/>
          <p:nvPr/>
        </p:nvSpPr>
        <p:spPr>
          <a:xfrm>
            <a:off x="8735144" y="359569"/>
            <a:ext cx="3369833" cy="923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émarrage groupe pilote </a:t>
            </a:r>
            <a:b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(4 habitants) amorcé par </a:t>
            </a:r>
            <a:b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’appel « Inspirons le Quartier »</a:t>
            </a:r>
            <a:endParaRPr/>
          </a:p>
        </p:txBody>
      </p:sp>
      <p:cxnSp>
        <p:nvCxnSpPr>
          <p:cNvPr id="591" name="Google Shape;591;p7"/>
          <p:cNvCxnSpPr>
            <a:stCxn id="588" idx="6"/>
          </p:cNvCxnSpPr>
          <p:nvPr/>
        </p:nvCxnSpPr>
        <p:spPr>
          <a:xfrm flipV="1">
            <a:off x="8446957" y="821234"/>
            <a:ext cx="288201" cy="1"/>
          </a:xfrm>
          <a:prstGeom prst="straightConnector1">
            <a:avLst/>
          </a:prstGeom>
          <a:noFill/>
          <a:ln w="9525" cap="flat" cmpd="sng">
            <a:solidFill>
              <a:srgbClr val="EE2B2B"/>
            </a:solidFill>
            <a:prstDash val="solid"/>
            <a:miter lim="8000"/>
            <a:headEnd type="none" w="sm" len="sm"/>
            <a:tailEnd type="none" w="sm" len="sm"/>
          </a:ln>
        </p:spPr>
      </p:cxnSp>
      <p:sp>
        <p:nvSpPr>
          <p:cNvPr id="592" name="Google Shape;592;p7"/>
          <p:cNvSpPr/>
          <p:nvPr/>
        </p:nvSpPr>
        <p:spPr>
          <a:xfrm>
            <a:off x="8401238" y="1387535"/>
            <a:ext cx="45719" cy="45719"/>
          </a:xfrm>
          <a:prstGeom prst="ellipse">
            <a:avLst/>
          </a:prstGeom>
          <a:solidFill>
            <a:schemeClr val="accent1"/>
          </a:solidFill>
          <a:ln w="25400" cap="flat" cmpd="sng">
            <a:solidFill>
              <a:srgbClr val="AF2424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3" name="Google Shape;593;p7"/>
          <p:cNvSpPr txBox="1"/>
          <p:nvPr/>
        </p:nvSpPr>
        <p:spPr>
          <a:xfrm>
            <a:off x="5274716" y="1087228"/>
            <a:ext cx="2826415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lignement sur l’intention </a:t>
            </a:r>
            <a:b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et conception du projet</a:t>
            </a:r>
            <a:endParaRPr/>
          </a:p>
        </p:txBody>
      </p:sp>
      <p:sp>
        <p:nvSpPr>
          <p:cNvPr id="594" name="Google Shape;594;p7"/>
          <p:cNvSpPr txBox="1"/>
          <p:nvPr/>
        </p:nvSpPr>
        <p:spPr>
          <a:xfrm>
            <a:off x="8877858" y="1492169"/>
            <a:ext cx="2826415" cy="923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ncontre des acteurs et </a:t>
            </a:r>
            <a:b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nception des outils </a:t>
            </a:r>
            <a:b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 communication</a:t>
            </a:r>
            <a:endParaRPr/>
          </a:p>
        </p:txBody>
      </p:sp>
      <p:cxnSp>
        <p:nvCxnSpPr>
          <p:cNvPr id="595" name="Google Shape;595;p7"/>
          <p:cNvCxnSpPr>
            <a:stCxn id="592" idx="6"/>
            <a:endCxn id="593" idx="3"/>
          </p:cNvCxnSpPr>
          <p:nvPr/>
        </p:nvCxnSpPr>
        <p:spPr>
          <a:xfrm flipH="1" flipV="1">
            <a:off x="8101131" y="1410394"/>
            <a:ext cx="345826" cy="1"/>
          </a:xfrm>
          <a:prstGeom prst="straightConnector1">
            <a:avLst/>
          </a:prstGeom>
          <a:noFill/>
          <a:ln w="9525" cap="flat" cmpd="sng">
            <a:solidFill>
              <a:srgbClr val="EE2B2B"/>
            </a:solidFill>
            <a:prstDash val="solid"/>
            <a:miter lim="8000"/>
            <a:headEnd type="none" w="sm" len="sm"/>
            <a:tailEnd type="none" w="sm" len="sm"/>
          </a:ln>
        </p:spPr>
      </p:cxnSp>
      <p:sp>
        <p:nvSpPr>
          <p:cNvPr id="596" name="Google Shape;596;p7"/>
          <p:cNvSpPr/>
          <p:nvPr/>
        </p:nvSpPr>
        <p:spPr>
          <a:xfrm>
            <a:off x="8401238" y="1936742"/>
            <a:ext cx="45719" cy="45719"/>
          </a:xfrm>
          <a:prstGeom prst="ellipse">
            <a:avLst/>
          </a:prstGeom>
          <a:solidFill>
            <a:schemeClr val="accent1"/>
          </a:solidFill>
          <a:ln w="25400" cap="flat" cmpd="sng">
            <a:solidFill>
              <a:srgbClr val="AF2424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7" name="Google Shape;597;p7"/>
          <p:cNvCxnSpPr/>
          <p:nvPr/>
        </p:nvCxnSpPr>
        <p:spPr>
          <a:xfrm rot="10800000">
            <a:off x="8408709" y="1953834"/>
            <a:ext cx="353297" cy="1"/>
          </a:xfrm>
          <a:prstGeom prst="straightConnector1">
            <a:avLst/>
          </a:prstGeom>
          <a:noFill/>
          <a:ln w="9525" cap="flat" cmpd="sng">
            <a:solidFill>
              <a:srgbClr val="EE2B2B"/>
            </a:solidFill>
            <a:prstDash val="solid"/>
            <a:miter lim="8000"/>
            <a:headEnd type="none" w="sm" len="sm"/>
            <a:tailEnd type="none" w="sm" len="sm"/>
          </a:ln>
        </p:spPr>
      </p:cxnSp>
      <p:sp>
        <p:nvSpPr>
          <p:cNvPr id="598" name="Google Shape;598;p7"/>
          <p:cNvSpPr/>
          <p:nvPr/>
        </p:nvSpPr>
        <p:spPr>
          <a:xfrm>
            <a:off x="8401238" y="2520134"/>
            <a:ext cx="45719" cy="45719"/>
          </a:xfrm>
          <a:prstGeom prst="ellipse">
            <a:avLst/>
          </a:prstGeom>
          <a:solidFill>
            <a:schemeClr val="accent1"/>
          </a:solidFill>
          <a:ln w="25400" cap="flat" cmpd="sng">
            <a:solidFill>
              <a:srgbClr val="AF2424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9" name="Google Shape;599;p7"/>
          <p:cNvSpPr txBox="1"/>
          <p:nvPr/>
        </p:nvSpPr>
        <p:spPr>
          <a:xfrm>
            <a:off x="8505298" y="2404493"/>
            <a:ext cx="885179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Juin 2021</a:t>
            </a:r>
            <a:endParaRPr/>
          </a:p>
        </p:txBody>
      </p:sp>
      <p:sp>
        <p:nvSpPr>
          <p:cNvPr id="600" name="Google Shape;600;p7"/>
          <p:cNvSpPr txBox="1"/>
          <p:nvPr/>
        </p:nvSpPr>
        <p:spPr>
          <a:xfrm>
            <a:off x="5646613" y="2219826"/>
            <a:ext cx="245451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mières rencontres </a:t>
            </a:r>
            <a:b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s habitants</a:t>
            </a:r>
            <a:endParaRPr/>
          </a:p>
        </p:txBody>
      </p:sp>
      <p:cxnSp>
        <p:nvCxnSpPr>
          <p:cNvPr id="601" name="Google Shape;601;p7"/>
          <p:cNvCxnSpPr>
            <a:endCxn id="598" idx="6"/>
          </p:cNvCxnSpPr>
          <p:nvPr/>
        </p:nvCxnSpPr>
        <p:spPr>
          <a:xfrm>
            <a:off x="8124058" y="2542994"/>
            <a:ext cx="322899" cy="0"/>
          </a:xfrm>
          <a:prstGeom prst="straightConnector1">
            <a:avLst/>
          </a:prstGeom>
          <a:noFill/>
          <a:ln w="9525" cap="flat" cmpd="sng">
            <a:solidFill>
              <a:srgbClr val="EE2B2B"/>
            </a:solidFill>
            <a:prstDash val="solid"/>
            <a:miter lim="8000"/>
            <a:headEnd type="none" w="sm" len="sm"/>
            <a:tailEnd type="none" w="sm" len="sm"/>
          </a:ln>
        </p:spPr>
      </p:cxnSp>
      <p:sp>
        <p:nvSpPr>
          <p:cNvPr id="602" name="Google Shape;602;p7"/>
          <p:cNvSpPr txBox="1"/>
          <p:nvPr/>
        </p:nvSpPr>
        <p:spPr>
          <a:xfrm>
            <a:off x="8877858" y="2839499"/>
            <a:ext cx="3070071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morce de la concertation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rbanisme/patrimoine/climat</a:t>
            </a:r>
            <a:endParaRPr/>
          </a:p>
        </p:txBody>
      </p:sp>
      <p:sp>
        <p:nvSpPr>
          <p:cNvPr id="603" name="Google Shape;603;p7"/>
          <p:cNvSpPr/>
          <p:nvPr/>
        </p:nvSpPr>
        <p:spPr>
          <a:xfrm>
            <a:off x="8401238" y="3145573"/>
            <a:ext cx="45719" cy="45719"/>
          </a:xfrm>
          <a:prstGeom prst="ellipse">
            <a:avLst/>
          </a:prstGeom>
          <a:solidFill>
            <a:schemeClr val="accent1"/>
          </a:solidFill>
          <a:ln w="25400" cap="flat" cmpd="sng">
            <a:solidFill>
              <a:srgbClr val="AF2424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4" name="Google Shape;604;p7"/>
          <p:cNvCxnSpPr/>
          <p:nvPr/>
        </p:nvCxnSpPr>
        <p:spPr>
          <a:xfrm rot="10800000">
            <a:off x="8408709" y="3162665"/>
            <a:ext cx="353297" cy="1"/>
          </a:xfrm>
          <a:prstGeom prst="straightConnector1">
            <a:avLst/>
          </a:prstGeom>
          <a:noFill/>
          <a:ln w="9525" cap="flat" cmpd="sng">
            <a:solidFill>
              <a:srgbClr val="EE2B2B"/>
            </a:solidFill>
            <a:prstDash val="solid"/>
            <a:miter lim="8000"/>
            <a:headEnd type="none" w="sm" len="sm"/>
            <a:tailEnd type="none" w="sm" len="sm"/>
          </a:ln>
        </p:spPr>
      </p:cxnSp>
      <p:sp>
        <p:nvSpPr>
          <p:cNvPr id="605" name="Google Shape;605;p7"/>
          <p:cNvSpPr/>
          <p:nvPr/>
        </p:nvSpPr>
        <p:spPr>
          <a:xfrm>
            <a:off x="8401238" y="3786135"/>
            <a:ext cx="45719" cy="45719"/>
          </a:xfrm>
          <a:prstGeom prst="ellipse">
            <a:avLst/>
          </a:prstGeom>
          <a:solidFill>
            <a:schemeClr val="accent1"/>
          </a:solidFill>
          <a:ln w="25400" cap="flat" cmpd="sng">
            <a:solidFill>
              <a:srgbClr val="AF2424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6" name="Google Shape;606;p7"/>
          <p:cNvSpPr txBox="1"/>
          <p:nvPr/>
        </p:nvSpPr>
        <p:spPr>
          <a:xfrm>
            <a:off x="6118786" y="3485828"/>
            <a:ext cx="1967205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oursuite </a:t>
            </a:r>
            <a:b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 la mobilisation</a:t>
            </a:r>
            <a:endParaRPr/>
          </a:p>
        </p:txBody>
      </p:sp>
      <p:cxnSp>
        <p:nvCxnSpPr>
          <p:cNvPr id="607" name="Google Shape;607;p7"/>
          <p:cNvCxnSpPr>
            <a:stCxn id="605" idx="6"/>
            <a:endCxn id="606" idx="3"/>
          </p:cNvCxnSpPr>
          <p:nvPr/>
        </p:nvCxnSpPr>
        <p:spPr>
          <a:xfrm flipH="1" flipV="1">
            <a:off x="8085991" y="3808994"/>
            <a:ext cx="360966" cy="1"/>
          </a:xfrm>
          <a:prstGeom prst="straightConnector1">
            <a:avLst/>
          </a:prstGeom>
          <a:noFill/>
          <a:ln w="9525" cap="flat" cmpd="sng">
            <a:solidFill>
              <a:srgbClr val="EE2B2B"/>
            </a:solidFill>
            <a:prstDash val="solid"/>
            <a:miter lim="8000"/>
            <a:headEnd type="none" w="sm" len="sm"/>
            <a:tailEnd type="none" w="sm" len="sm"/>
          </a:ln>
        </p:spPr>
      </p:cxnSp>
      <p:sp>
        <p:nvSpPr>
          <p:cNvPr id="608" name="Google Shape;608;p7"/>
          <p:cNvSpPr txBox="1"/>
          <p:nvPr/>
        </p:nvSpPr>
        <p:spPr>
          <a:xfrm>
            <a:off x="8877858" y="3802663"/>
            <a:ext cx="2736647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épôt candidature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Quartier Durable Citoyen</a:t>
            </a:r>
            <a:endParaRPr/>
          </a:p>
        </p:txBody>
      </p:sp>
      <p:sp>
        <p:nvSpPr>
          <p:cNvPr id="609" name="Google Shape;609;p7"/>
          <p:cNvSpPr/>
          <p:nvPr/>
        </p:nvSpPr>
        <p:spPr>
          <a:xfrm>
            <a:off x="8401238" y="4108737"/>
            <a:ext cx="45719" cy="45719"/>
          </a:xfrm>
          <a:prstGeom prst="ellipse">
            <a:avLst/>
          </a:prstGeom>
          <a:solidFill>
            <a:schemeClr val="accent1"/>
          </a:solidFill>
          <a:ln w="25400" cap="flat" cmpd="sng">
            <a:solidFill>
              <a:srgbClr val="AF2424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0" name="Google Shape;610;p7"/>
          <p:cNvCxnSpPr/>
          <p:nvPr/>
        </p:nvCxnSpPr>
        <p:spPr>
          <a:xfrm rot="10800000">
            <a:off x="8408709" y="4125829"/>
            <a:ext cx="353297" cy="1"/>
          </a:xfrm>
          <a:prstGeom prst="straightConnector1">
            <a:avLst/>
          </a:prstGeom>
          <a:noFill/>
          <a:ln w="9525" cap="flat" cmpd="sng">
            <a:solidFill>
              <a:srgbClr val="EE2B2B"/>
            </a:solidFill>
            <a:prstDash val="solid"/>
            <a:miter lim="8000"/>
            <a:headEnd type="none" w="sm" len="sm"/>
            <a:tailEnd type="none" w="sm" len="sm"/>
          </a:ln>
        </p:spPr>
      </p:cxnSp>
      <p:sp>
        <p:nvSpPr>
          <p:cNvPr id="611" name="Google Shape;611;p7"/>
          <p:cNvSpPr txBox="1"/>
          <p:nvPr/>
        </p:nvSpPr>
        <p:spPr>
          <a:xfrm>
            <a:off x="5619738" y="4219129"/>
            <a:ext cx="2467500" cy="64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ntage d’une équipe</a:t>
            </a:r>
            <a:endParaRPr/>
          </a:p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ultidisciplinaire</a:t>
            </a:r>
            <a:endParaRPr/>
          </a:p>
        </p:txBody>
      </p:sp>
      <p:sp>
        <p:nvSpPr>
          <p:cNvPr id="612" name="Google Shape;612;p7"/>
          <p:cNvSpPr/>
          <p:nvPr/>
        </p:nvSpPr>
        <p:spPr>
          <a:xfrm>
            <a:off x="8401297" y="4519579"/>
            <a:ext cx="45600" cy="45600"/>
          </a:xfrm>
          <a:prstGeom prst="ellipse">
            <a:avLst/>
          </a:prstGeom>
          <a:solidFill>
            <a:schemeClr val="accent1"/>
          </a:solidFill>
          <a:ln w="25400" cap="flat" cmpd="sng">
            <a:solidFill>
              <a:srgbClr val="AF2424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3" name="Google Shape;613;p7"/>
          <p:cNvCxnSpPr>
            <a:cxnSpLocks/>
            <a:endCxn id="611" idx="3"/>
          </p:cNvCxnSpPr>
          <p:nvPr/>
        </p:nvCxnSpPr>
        <p:spPr>
          <a:xfrm flipH="1">
            <a:off x="8087238" y="4534279"/>
            <a:ext cx="320580" cy="8100"/>
          </a:xfrm>
          <a:prstGeom prst="straightConnector1">
            <a:avLst/>
          </a:prstGeom>
          <a:noFill/>
          <a:ln w="9525" cap="flat" cmpd="sng">
            <a:solidFill>
              <a:srgbClr val="EE2B2B"/>
            </a:solidFill>
            <a:prstDash val="solid"/>
            <a:miter lim="8000"/>
            <a:headEnd type="none" w="sm" len="sm"/>
            <a:tailEnd type="none" w="sm" len="sm"/>
          </a:ln>
        </p:spPr>
      </p:cxnSp>
      <p:sp>
        <p:nvSpPr>
          <p:cNvPr id="614" name="Google Shape;614;p7"/>
          <p:cNvSpPr txBox="1"/>
          <p:nvPr/>
        </p:nvSpPr>
        <p:spPr>
          <a:xfrm>
            <a:off x="8891290" y="4657165"/>
            <a:ext cx="2069700" cy="64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épôt candidature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NOLAB.ID</a:t>
            </a:r>
            <a:endParaRPr/>
          </a:p>
        </p:txBody>
      </p:sp>
      <p:sp>
        <p:nvSpPr>
          <p:cNvPr id="615" name="Google Shape;615;p7"/>
          <p:cNvSpPr/>
          <p:nvPr/>
        </p:nvSpPr>
        <p:spPr>
          <a:xfrm>
            <a:off x="8401297" y="4930001"/>
            <a:ext cx="45600" cy="45600"/>
          </a:xfrm>
          <a:prstGeom prst="ellipse">
            <a:avLst/>
          </a:prstGeom>
          <a:solidFill>
            <a:schemeClr val="accent1"/>
          </a:solidFill>
          <a:ln w="25400" cap="flat" cmpd="sng">
            <a:solidFill>
              <a:srgbClr val="AF2424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6" name="Google Shape;616;p7"/>
          <p:cNvSpPr txBox="1"/>
          <p:nvPr/>
        </p:nvSpPr>
        <p:spPr>
          <a:xfrm>
            <a:off x="8483639" y="5321687"/>
            <a:ext cx="11049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2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Janvier 2022</a:t>
            </a:r>
            <a:endParaRPr dirty="0"/>
          </a:p>
        </p:txBody>
      </p:sp>
      <p:sp>
        <p:nvSpPr>
          <p:cNvPr id="617" name="Google Shape;617;p7"/>
          <p:cNvSpPr txBox="1"/>
          <p:nvPr/>
        </p:nvSpPr>
        <p:spPr>
          <a:xfrm>
            <a:off x="8891294" y="5575287"/>
            <a:ext cx="3288000" cy="64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tensification de la mobilisation</a:t>
            </a:r>
          </a:p>
        </p:txBody>
      </p:sp>
      <p:cxnSp>
        <p:nvCxnSpPr>
          <p:cNvPr id="618" name="Google Shape;618;p7"/>
          <p:cNvCxnSpPr/>
          <p:nvPr/>
        </p:nvCxnSpPr>
        <p:spPr>
          <a:xfrm rot="10800000">
            <a:off x="8422038" y="4960483"/>
            <a:ext cx="353400" cy="0"/>
          </a:xfrm>
          <a:prstGeom prst="straightConnector1">
            <a:avLst/>
          </a:prstGeom>
          <a:noFill/>
          <a:ln w="9525" cap="flat" cmpd="sng">
            <a:solidFill>
              <a:srgbClr val="EE2B2B"/>
            </a:solidFill>
            <a:prstDash val="solid"/>
            <a:miter lim="8000"/>
            <a:headEnd type="none" w="sm" len="sm"/>
            <a:tailEnd type="none" w="sm" len="sm"/>
          </a:ln>
        </p:spPr>
      </p:cxnSp>
      <p:cxnSp>
        <p:nvCxnSpPr>
          <p:cNvPr id="619" name="Google Shape;619;p7"/>
          <p:cNvCxnSpPr/>
          <p:nvPr/>
        </p:nvCxnSpPr>
        <p:spPr>
          <a:xfrm>
            <a:off x="8457758" y="5898553"/>
            <a:ext cx="288300" cy="0"/>
          </a:xfrm>
          <a:prstGeom prst="straightConnector1">
            <a:avLst/>
          </a:prstGeom>
          <a:noFill/>
          <a:ln w="9525" cap="flat" cmpd="sng">
            <a:solidFill>
              <a:srgbClr val="EE2B2B"/>
            </a:solidFill>
            <a:prstDash val="solid"/>
            <a:miter lim="8000"/>
            <a:headEnd type="none" w="sm" len="sm"/>
            <a:tailEnd type="none" w="sm" len="sm"/>
          </a:ln>
        </p:spPr>
      </p:cxnSp>
      <p:sp>
        <p:nvSpPr>
          <p:cNvPr id="620" name="Google Shape;620;p7"/>
          <p:cNvSpPr txBox="1"/>
          <p:nvPr/>
        </p:nvSpPr>
        <p:spPr>
          <a:xfrm>
            <a:off x="4799238" y="5976348"/>
            <a:ext cx="3288000" cy="9232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 dirty="0">
                <a:solidFill>
                  <a:schemeClr val="dk1"/>
                </a:solidFill>
              </a:rPr>
              <a:t>Scénarios de rénovation</a:t>
            </a:r>
            <a:br>
              <a:rPr lang="fr-BE" sz="1800" dirty="0">
                <a:solidFill>
                  <a:schemeClr val="dk1"/>
                </a:solidFill>
              </a:rPr>
            </a:br>
            <a:r>
              <a:rPr lang="fr-BE" sz="1800" dirty="0">
                <a:solidFill>
                  <a:schemeClr val="dk1"/>
                </a:solidFill>
              </a:rPr>
              <a:t>pour une sélection </a:t>
            </a:r>
            <a:br>
              <a:rPr lang="fr-BE" sz="1800" dirty="0">
                <a:solidFill>
                  <a:schemeClr val="dk1"/>
                </a:solidFill>
              </a:rPr>
            </a:br>
            <a:r>
              <a:rPr lang="fr-BE" sz="1800" dirty="0">
                <a:solidFill>
                  <a:schemeClr val="dk1"/>
                </a:solidFill>
              </a:rPr>
              <a:t>de maisons types</a:t>
            </a:r>
          </a:p>
        </p:txBody>
      </p:sp>
      <p:cxnSp>
        <p:nvCxnSpPr>
          <p:cNvPr id="621" name="Google Shape;621;p7"/>
          <p:cNvCxnSpPr/>
          <p:nvPr/>
        </p:nvCxnSpPr>
        <p:spPr>
          <a:xfrm>
            <a:off x="8141308" y="6299614"/>
            <a:ext cx="288300" cy="0"/>
          </a:xfrm>
          <a:prstGeom prst="straightConnector1">
            <a:avLst/>
          </a:prstGeom>
          <a:noFill/>
          <a:ln w="9525" cap="flat" cmpd="sng">
            <a:solidFill>
              <a:srgbClr val="EE2B2B"/>
            </a:solidFill>
            <a:prstDash val="solid"/>
            <a:miter lim="8000"/>
            <a:headEnd type="none" w="sm" len="sm"/>
            <a:tailEnd type="none" w="sm" len="sm"/>
          </a:ln>
        </p:spPr>
      </p:cxnSp>
      <p:sp>
        <p:nvSpPr>
          <p:cNvPr id="39" name="Google Shape;615;p7">
            <a:extLst>
              <a:ext uri="{FF2B5EF4-FFF2-40B4-BE49-F238E27FC236}">
                <a16:creationId xmlns:a16="http://schemas.microsoft.com/office/drawing/2014/main" id="{AACF5035-FF51-419D-A691-C033B80AC4AB}"/>
              </a:ext>
            </a:extLst>
          </p:cNvPr>
          <p:cNvSpPr/>
          <p:nvPr/>
        </p:nvSpPr>
        <p:spPr>
          <a:xfrm>
            <a:off x="8401297" y="5426378"/>
            <a:ext cx="45600" cy="45600"/>
          </a:xfrm>
          <a:prstGeom prst="ellipse">
            <a:avLst/>
          </a:prstGeom>
          <a:solidFill>
            <a:schemeClr val="accent1"/>
          </a:solidFill>
          <a:ln w="25400" cap="flat" cmpd="sng">
            <a:solidFill>
              <a:srgbClr val="AF2424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" name="Google Shape;620;p7">
            <a:extLst>
              <a:ext uri="{FF2B5EF4-FFF2-40B4-BE49-F238E27FC236}">
                <a16:creationId xmlns:a16="http://schemas.microsoft.com/office/drawing/2014/main" id="{1E484E1C-F990-4DDA-87E4-BC80D2A1AE30}"/>
              </a:ext>
            </a:extLst>
          </p:cNvPr>
          <p:cNvSpPr txBox="1"/>
          <p:nvPr/>
        </p:nvSpPr>
        <p:spPr>
          <a:xfrm>
            <a:off x="4797958" y="5125245"/>
            <a:ext cx="3288000" cy="64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BE" sz="18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émarrage du projet</a:t>
            </a:r>
            <a:r>
              <a:rPr lang="fr-BE" sz="1800" dirty="0"/>
              <a:t> </a:t>
            </a:r>
            <a:r>
              <a:rPr lang="fr-BE" sz="18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vec équipe multidisciplinaire</a:t>
            </a:r>
            <a:endParaRPr lang="fr-BE" sz="1800" dirty="0"/>
          </a:p>
        </p:txBody>
      </p:sp>
      <p:cxnSp>
        <p:nvCxnSpPr>
          <p:cNvPr id="41" name="Google Shape;619;p7">
            <a:extLst>
              <a:ext uri="{FF2B5EF4-FFF2-40B4-BE49-F238E27FC236}">
                <a16:creationId xmlns:a16="http://schemas.microsoft.com/office/drawing/2014/main" id="{337BE9AE-A5F7-4957-BCA1-6EE1559ED723}"/>
              </a:ext>
            </a:extLst>
          </p:cNvPr>
          <p:cNvCxnSpPr/>
          <p:nvPr/>
        </p:nvCxnSpPr>
        <p:spPr>
          <a:xfrm>
            <a:off x="8088166" y="5447796"/>
            <a:ext cx="288300" cy="0"/>
          </a:xfrm>
          <a:prstGeom prst="straightConnector1">
            <a:avLst/>
          </a:prstGeom>
          <a:noFill/>
          <a:ln w="9525" cap="flat" cmpd="sng">
            <a:solidFill>
              <a:srgbClr val="EE2B2B"/>
            </a:solidFill>
            <a:prstDash val="solid"/>
            <a:miter lim="8000"/>
            <a:headEnd type="none" w="sm" len="sm"/>
            <a:tailEnd type="none" w="sm" len="sm"/>
          </a:ln>
        </p:spPr>
      </p:cxnSp>
      <p:sp>
        <p:nvSpPr>
          <p:cNvPr id="42" name="Google Shape;615;p7">
            <a:extLst>
              <a:ext uri="{FF2B5EF4-FFF2-40B4-BE49-F238E27FC236}">
                <a16:creationId xmlns:a16="http://schemas.microsoft.com/office/drawing/2014/main" id="{8430C7A5-8E83-4C42-99F6-0687B5EFBC30}"/>
              </a:ext>
            </a:extLst>
          </p:cNvPr>
          <p:cNvSpPr/>
          <p:nvPr/>
        </p:nvSpPr>
        <p:spPr>
          <a:xfrm>
            <a:off x="8401297" y="5880194"/>
            <a:ext cx="45600" cy="45600"/>
          </a:xfrm>
          <a:prstGeom prst="ellipse">
            <a:avLst/>
          </a:prstGeom>
          <a:solidFill>
            <a:schemeClr val="accent1"/>
          </a:solidFill>
          <a:ln w="25400" cap="flat" cmpd="sng">
            <a:solidFill>
              <a:srgbClr val="AF2424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615;p7">
            <a:extLst>
              <a:ext uri="{FF2B5EF4-FFF2-40B4-BE49-F238E27FC236}">
                <a16:creationId xmlns:a16="http://schemas.microsoft.com/office/drawing/2014/main" id="{E3C050A8-3013-4463-95A0-577EFB2E2A0E}"/>
              </a:ext>
            </a:extLst>
          </p:cNvPr>
          <p:cNvSpPr/>
          <p:nvPr/>
        </p:nvSpPr>
        <p:spPr>
          <a:xfrm>
            <a:off x="8401297" y="6271765"/>
            <a:ext cx="45600" cy="45600"/>
          </a:xfrm>
          <a:prstGeom prst="ellipse">
            <a:avLst/>
          </a:prstGeom>
          <a:solidFill>
            <a:schemeClr val="accent1"/>
          </a:solidFill>
          <a:ln w="25400" cap="flat" cmpd="sng">
            <a:solidFill>
              <a:srgbClr val="AF2424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8" grpId="0" animBg="1"/>
      <p:bldP spid="589" grpId="0"/>
      <p:bldP spid="590" grpId="0"/>
      <p:bldP spid="592" grpId="0" animBg="1"/>
      <p:bldP spid="593" grpId="0"/>
      <p:bldP spid="594" grpId="0"/>
      <p:bldP spid="596" grpId="0" animBg="1"/>
      <p:bldP spid="598" grpId="0" animBg="1"/>
      <p:bldP spid="599" grpId="0"/>
      <p:bldP spid="600" grpId="0"/>
      <p:bldP spid="602" grpId="0"/>
      <p:bldP spid="603" grpId="0" animBg="1"/>
      <p:bldP spid="605" grpId="0" animBg="1"/>
      <p:bldP spid="606" grpId="0"/>
      <p:bldP spid="608" grpId="0"/>
      <p:bldP spid="609" grpId="0" animBg="1"/>
      <p:bldP spid="611" grpId="0"/>
      <p:bldP spid="612" grpId="0" animBg="1"/>
      <p:bldP spid="614" grpId="0"/>
      <p:bldP spid="615" grpId="0" animBg="1"/>
      <p:bldP spid="616" grpId="0"/>
      <p:bldP spid="617" grpId="0"/>
      <p:bldP spid="620" grpId="0"/>
      <p:bldP spid="39" grpId="0" animBg="1"/>
      <p:bldP spid="40" grpId="0"/>
      <p:bldP spid="42" grpId="0" animBg="1"/>
      <p:bldP spid="4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6" name="Google Shape;626;p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728275" y="23813"/>
            <a:ext cx="6124575" cy="6810375"/>
          </a:xfrm>
          <a:prstGeom prst="rect">
            <a:avLst/>
          </a:prstGeom>
          <a:noFill/>
          <a:ln>
            <a:noFill/>
          </a:ln>
        </p:spPr>
      </p:pic>
      <p:sp>
        <p:nvSpPr>
          <p:cNvPr id="627" name="Google Shape;627;p8"/>
          <p:cNvSpPr txBox="1"/>
          <p:nvPr/>
        </p:nvSpPr>
        <p:spPr>
          <a:xfrm>
            <a:off x="839791" y="2084822"/>
            <a:ext cx="3960065" cy="323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</a:pPr>
            <a:r>
              <a:rPr lang="fr-BE" sz="4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éjà </a:t>
            </a:r>
            <a:br>
              <a:rPr lang="fr-BE" sz="4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fr-BE" sz="4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2 ménages engagés dans la vague 1</a:t>
            </a:r>
            <a:endParaRPr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0000"/>
      </a:dk2>
      <a:lt2>
        <a:srgbClr val="F3F3FB"/>
      </a:lt2>
      <a:accent1>
        <a:srgbClr val="F03232"/>
      </a:accent1>
      <a:accent2>
        <a:srgbClr val="FA7C28"/>
      </a:accent2>
      <a:accent3>
        <a:srgbClr val="FAB928"/>
      </a:accent3>
      <a:accent4>
        <a:srgbClr val="86C83B"/>
      </a:accent4>
      <a:accent5>
        <a:srgbClr val="3BB345"/>
      </a:accent5>
      <a:accent6>
        <a:srgbClr val="23914B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0000"/>
      </a:dk2>
      <a:lt2>
        <a:srgbClr val="F3F3FB"/>
      </a:lt2>
      <a:accent1>
        <a:srgbClr val="F03232"/>
      </a:accent1>
      <a:accent2>
        <a:srgbClr val="FA7C28"/>
      </a:accent2>
      <a:accent3>
        <a:srgbClr val="FAB928"/>
      </a:accent3>
      <a:accent4>
        <a:srgbClr val="86C83B"/>
      </a:accent4>
      <a:accent5>
        <a:srgbClr val="3BB345"/>
      </a:accent5>
      <a:accent6>
        <a:srgbClr val="23914B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0000"/>
      </a:dk2>
      <a:lt2>
        <a:srgbClr val="F3F3FB"/>
      </a:lt2>
      <a:accent1>
        <a:srgbClr val="F03232"/>
      </a:accent1>
      <a:accent2>
        <a:srgbClr val="FA7C28"/>
      </a:accent2>
      <a:accent3>
        <a:srgbClr val="FAB928"/>
      </a:accent3>
      <a:accent4>
        <a:srgbClr val="86C83B"/>
      </a:accent4>
      <a:accent5>
        <a:srgbClr val="3BB345"/>
      </a:accent5>
      <a:accent6>
        <a:srgbClr val="23914B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renolution-theme">
      <a:dk1>
        <a:srgbClr val="0900BD"/>
      </a:dk1>
      <a:lt1>
        <a:srgbClr val="FFFFFF"/>
      </a:lt1>
      <a:dk2>
        <a:srgbClr val="000000"/>
      </a:dk2>
      <a:lt2>
        <a:srgbClr val="F3F3FB"/>
      </a:lt2>
      <a:accent1>
        <a:srgbClr val="F03232"/>
      </a:accent1>
      <a:accent2>
        <a:srgbClr val="FA7C28"/>
      </a:accent2>
      <a:accent3>
        <a:srgbClr val="FAB928"/>
      </a:accent3>
      <a:accent4>
        <a:srgbClr val="86C83B"/>
      </a:accent4>
      <a:accent5>
        <a:srgbClr val="3BB345"/>
      </a:accent5>
      <a:accent6>
        <a:srgbClr val="23914B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0000"/>
      </a:dk2>
      <a:lt2>
        <a:srgbClr val="F3F3FB"/>
      </a:lt2>
      <a:accent1>
        <a:srgbClr val="F03232"/>
      </a:accent1>
      <a:accent2>
        <a:srgbClr val="FA7C28"/>
      </a:accent2>
      <a:accent3>
        <a:srgbClr val="FAB928"/>
      </a:accent3>
      <a:accent4>
        <a:srgbClr val="86C83B"/>
      </a:accent4>
      <a:accent5>
        <a:srgbClr val="3BB345"/>
      </a:accent5>
      <a:accent6>
        <a:srgbClr val="23914B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DocBienvenu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egoe 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_60957315_TF10001108_Win32" id="{2806A0BE-F809-4871-972D-2526D4384446}" vid="{31D09BF8-A1E0-4D8B-BA3C-9CB9896B1121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8</TotalTime>
  <Words>3139</Words>
  <Application>Microsoft Office PowerPoint</Application>
  <PresentationFormat>Widescreen</PresentationFormat>
  <Paragraphs>462</Paragraphs>
  <Slides>43</Slides>
  <Notes>41</Notes>
  <HiddenSlides>9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60" baseType="lpstr">
      <vt:lpstr>Trebuchet MS</vt:lpstr>
      <vt:lpstr>Calibri</vt:lpstr>
      <vt:lpstr>Merriweather Sans</vt:lpstr>
      <vt:lpstr>Segoe UI</vt:lpstr>
      <vt:lpstr>Wingdings</vt:lpstr>
      <vt:lpstr>Arial</vt:lpstr>
      <vt:lpstr>Segoe UI Semibold</vt:lpstr>
      <vt:lpstr>Times New Roman</vt:lpstr>
      <vt:lpstr>Quattrocento Sans</vt:lpstr>
      <vt:lpstr>Segoe UI Light</vt:lpstr>
      <vt:lpstr>Office Theme</vt:lpstr>
      <vt:lpstr>Office Theme</vt:lpstr>
      <vt:lpstr>Office Theme</vt:lpstr>
      <vt:lpstr>Thème Office</vt:lpstr>
      <vt:lpstr>Office Theme</vt:lpstr>
      <vt:lpstr>DocBienvenue</vt:lpstr>
      <vt:lpstr>think-cell Slide</vt:lpstr>
      <vt:lpstr>PowerPoint Presentation</vt:lpstr>
      <vt:lpstr>PowerPoint Presentation</vt:lpstr>
      <vt:lpstr>La rénovation collective, un changement de paradigme  pour rencontrer les objectifs de la Rénolution</vt:lpstr>
      <vt:lpstr>Renov’Roue Rad est une initiative citoyenne pilote de rénovation collective</vt:lpstr>
      <vt:lpstr>Le projet expérimente  le rôle de coach  de rénovation collective</vt:lpstr>
      <vt:lpstr>Rendre la rénovation énergétique globale accessible aux bruxellois</vt:lpstr>
      <vt:lpstr>Le projet vise une expérimentation concrète</vt:lpstr>
      <vt:lpstr>De mars 2021 à aujourd’hui</vt:lpstr>
      <vt:lpstr>PowerPoint Presentation</vt:lpstr>
      <vt:lpstr>Déclencher une première vague de rénovation</vt:lpstr>
      <vt:lpstr>Et répliquer avec une deuxième vague  un an après</vt:lpstr>
      <vt:lpstr>Quelques exemples inspirants, chez nous et ailleurs</vt:lpstr>
      <vt:lpstr>Quelques exemples inspirants, chez nous et ailleurs - Energiesprong</vt:lpstr>
      <vt:lpstr>Rénovation en cours par le FA, Bon Air / La Roue</vt:lpstr>
      <vt:lpstr>Projet pilote de rénovation par quartier</vt:lpstr>
      <vt:lpstr>Une mobilisation sur le terrain, intensive et plus efficace</vt:lpstr>
      <vt:lpstr>La mobilisation est déjà bien amorcée,  la visibilité par BE et le cabinet aidera</vt:lpstr>
      <vt:lpstr>Un accompagnement technique plus efficient</vt:lpstr>
      <vt:lpstr>Les activités techniques se sont concentrées sur un pré-diagnostic et sur la balises architecturales</vt:lpstr>
      <vt:lpstr>Analyser les matériaux et les compositions générales des façades existantes des typologies</vt:lpstr>
      <vt:lpstr>PowerPoint Presentation</vt:lpstr>
      <vt:lpstr>Maximiser l’accessibilité financière de la rénovation globale</vt:lpstr>
      <vt:lpstr>Il est nécessaire d’apporter des solutions pour le financement de la rénovation globale</vt:lpstr>
      <vt:lpstr>Sur le plan du financement, nous réalisons l’état de la situation</vt:lpstr>
      <vt:lpstr>L’échelle du quartier permet l’optimum entre efficacité énergétique et énergie renouvelable</vt:lpstr>
      <vt:lpstr>Réseau de chaleur : collecte de données et perspectives d’implémentation</vt:lpstr>
      <vt:lpstr>Un monitoring des résultats pour assurer la qualité de laboratoire</vt:lpstr>
      <vt:lpstr>Assurer une conduite efficace et efficiente du projet</vt:lpstr>
      <vt:lpstr>La mise sur rail du projet et du consortium est ce qui nous a pris le plus de temps</vt:lpstr>
      <vt:lpstr>Le projet touche aux différents enjeux ciblés par les GT de l’Alliance Rénolution</vt:lpstr>
      <vt:lpstr>Les besoins envers les GT de l’alliance, BE et le cabine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rvé Bertrand</dc:creator>
  <cp:lastModifiedBy>Quentin Jossen</cp:lastModifiedBy>
  <cp:revision>4</cp:revision>
  <dcterms:created xsi:type="dcterms:W3CDTF">2021-11-17T13:08:00Z</dcterms:created>
  <dcterms:modified xsi:type="dcterms:W3CDTF">2022-03-02T12:15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">
    <vt:i4>10</vt:i4>
  </property>
  <property fmtid="{D5CDD505-2E9C-101B-9397-08002B2CF9AE}" pid="3" name="PresentationFormat">
    <vt:lpwstr>Grand écran</vt:lpwstr>
  </property>
  <property fmtid="{D5CDD505-2E9C-101B-9397-08002B2CF9AE}" pid="4" name="Slides">
    <vt:i4>12</vt:i4>
  </property>
</Properties>
</file>